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theme/themeOverride2.xml" ContentType="application/vnd.openxmlformats-officedocument.themeOverride+xml"/>
  <Override PartName="/ppt/charts/chart7.xml" ContentType="application/vnd.openxmlformats-officedocument.drawingml.chart+xml"/>
  <Override PartName="/ppt/theme/themeOverride3.xml" ContentType="application/vnd.openxmlformats-officedocument.themeOverride+xml"/>
  <Override PartName="/ppt/charts/chart8.xml" ContentType="application/vnd.openxmlformats-officedocument.drawingml.chart+xml"/>
  <Override PartName="/ppt/theme/themeOverride4.xml" ContentType="application/vnd.openxmlformats-officedocument.themeOverride+xml"/>
  <Override PartName="/ppt/charts/chart9.xml" ContentType="application/vnd.openxmlformats-officedocument.drawingml.chart+xml"/>
  <Override PartName="/ppt/theme/themeOverride5.xml" ContentType="application/vnd.openxmlformats-officedocument.themeOverride+xml"/>
  <Override PartName="/ppt/charts/chart10.xml" ContentType="application/vnd.openxmlformats-officedocument.drawingml.chart+xml"/>
  <Override PartName="/ppt/charts/style6.xml" ContentType="application/vnd.ms-office.chartstyle+xml"/>
  <Override PartName="/ppt/charts/colors6.xml" ContentType="application/vnd.ms-office.chartcolorstyle+xml"/>
  <Override PartName="/ppt/charts/chart11.xml" ContentType="application/vnd.openxmlformats-officedocument.drawingml.chart+xml"/>
  <Override PartName="/ppt/charts/style7.xml" ContentType="application/vnd.ms-office.chartstyle+xml"/>
  <Override PartName="/ppt/charts/colors7.xml" ContentType="application/vnd.ms-office.chartcolorstyle+xml"/>
  <Override PartName="/ppt/charts/chart12.xml" ContentType="application/vnd.openxmlformats-officedocument.drawingml.chart+xml"/>
  <Override PartName="/ppt/charts/style8.xml" ContentType="application/vnd.ms-office.chartstyle+xml"/>
  <Override PartName="/ppt/charts/colors8.xml" ContentType="application/vnd.ms-office.chartcolorstyle+xml"/>
  <Override PartName="/ppt/charts/chart13.xml" ContentType="application/vnd.openxmlformats-officedocument.drawingml.chart+xml"/>
  <Override PartName="/ppt/charts/style9.xml" ContentType="application/vnd.ms-office.chartstyle+xml"/>
  <Override PartName="/ppt/charts/colors9.xml" ContentType="application/vnd.ms-office.chartcolorstyle+xml"/>
  <Override PartName="/ppt/charts/chart14.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5.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6.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7.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8.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drawings/drawing1.xml" ContentType="application/vnd.openxmlformats-officedocument.drawingml.chartshapes+xml"/>
  <Override PartName="/ppt/charts/chart22.xml" ContentType="application/vnd.openxmlformats-officedocument.drawingml.chart+xml"/>
  <Override PartName="/ppt/drawings/drawing2.xml" ContentType="application/vnd.openxmlformats-officedocument.drawingml.chartshapes+xml"/>
  <Override PartName="/ppt/charts/chart23.xml" ContentType="application/vnd.openxmlformats-officedocument.drawingml.chart+xml"/>
  <Override PartName="/ppt/drawings/drawing3.xml" ContentType="application/vnd.openxmlformats-officedocument.drawingml.chartshapes+xml"/>
  <Override PartName="/ppt/charts/chart24.xml" ContentType="application/vnd.openxmlformats-officedocument.drawingml.chart+xml"/>
  <Override PartName="/ppt/charts/chart2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2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27.xml" ContentType="application/vnd.openxmlformats-officedocument.drawingml.chart+xml"/>
  <Override PartName="/ppt/charts/chart28.xml" ContentType="application/vnd.openxmlformats-officedocument.drawingml.chart+xml"/>
  <Override PartName="/ppt/charts/style17.xml" ContentType="application/vnd.ms-office.chartstyle+xml"/>
  <Override PartName="/ppt/charts/colors17.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39"/>
  </p:notesMasterIdLst>
  <p:handoutMasterIdLst>
    <p:handoutMasterId r:id="rId40"/>
  </p:handoutMasterIdLst>
  <p:sldIdLst>
    <p:sldId id="1112" r:id="rId5"/>
    <p:sldId id="1144" r:id="rId6"/>
    <p:sldId id="292" r:id="rId7"/>
    <p:sldId id="1149" r:id="rId8"/>
    <p:sldId id="1150" r:id="rId9"/>
    <p:sldId id="579" r:id="rId10"/>
    <p:sldId id="1115" r:id="rId11"/>
    <p:sldId id="1146" r:id="rId12"/>
    <p:sldId id="1118" r:id="rId13"/>
    <p:sldId id="1140" r:id="rId14"/>
    <p:sldId id="1114" r:id="rId15"/>
    <p:sldId id="1117" r:id="rId16"/>
    <p:sldId id="1119" r:id="rId17"/>
    <p:sldId id="1120" r:id="rId18"/>
    <p:sldId id="1121" r:id="rId19"/>
    <p:sldId id="1122" r:id="rId20"/>
    <p:sldId id="1141" r:id="rId21"/>
    <p:sldId id="1123" r:id="rId22"/>
    <p:sldId id="1124" r:id="rId23"/>
    <p:sldId id="1126" r:id="rId24"/>
    <p:sldId id="1127" r:id="rId25"/>
    <p:sldId id="1128" r:id="rId26"/>
    <p:sldId id="1142" r:id="rId27"/>
    <p:sldId id="1129" r:id="rId28"/>
    <p:sldId id="1130" r:id="rId29"/>
    <p:sldId id="1143" r:id="rId30"/>
    <p:sldId id="1132" r:id="rId31"/>
    <p:sldId id="1133" r:id="rId32"/>
    <p:sldId id="1134" r:id="rId33"/>
    <p:sldId id="1135" r:id="rId34"/>
    <p:sldId id="1136" r:id="rId35"/>
    <p:sldId id="1137" r:id="rId36"/>
    <p:sldId id="1147" r:id="rId37"/>
    <p:sldId id="303" r:id="rId38"/>
  </p:sldIdLst>
  <p:sldSz cx="12192000" cy="6858000"/>
  <p:notesSz cx="6858000" cy="9144000"/>
  <p:embeddedFontLst>
    <p:embeddedFont>
      <p:font typeface="Arial Black" panose="020B0A04020102020204" pitchFamily="34" charset="0"/>
      <p:bold r:id="rId41"/>
    </p:embeddedFont>
    <p:embeddedFont>
      <p:font typeface="Calibri" panose="020F0502020204030204" pitchFamily="34" charset="0"/>
      <p:regular r:id="rId42"/>
      <p:bold r:id="rId43"/>
      <p:italic r:id="rId44"/>
      <p:boldItalic r:id="rId45"/>
    </p:embeddedFont>
    <p:embeddedFont>
      <p:font typeface="HelveticaNeueLT Std Lt Cn" panose="020B0406020202030204" charset="0"/>
      <p:regular r:id="rId46"/>
      <p:bold r:id="rId47"/>
      <p:italic r:id="rId48"/>
      <p:boldItalic r:id="rId49"/>
    </p:embeddedFont>
    <p:embeddedFont>
      <p:font typeface="Tahoma" panose="020B0604030504040204" pitchFamily="34" charset="0"/>
      <p:regular r:id="rId50"/>
      <p:bold r:id="rId51"/>
    </p:embeddedFont>
  </p:embeddedFontLst>
  <p:custDataLst>
    <p:tags r:id="rId52"/>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Linn Sørensen Holst" initials="LSH" lastIdx="33" clrIdx="1">
    <p:extLst>
      <p:ext uri="{19B8F6BF-5375-455C-9EA6-DF929625EA0E}">
        <p15:presenceInfo xmlns:p15="http://schemas.microsoft.com/office/powerpoint/2012/main" userId="S::linn.Holst@Ipsos.com::44f4c0b1-3b86-4f65-8ca2-53c331d392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F469C"/>
    <a:srgbClr val="D9D9D9"/>
    <a:srgbClr val="007681"/>
    <a:srgbClr val="009D9C"/>
    <a:srgbClr val="F5C099"/>
    <a:srgbClr val="E6A28E"/>
    <a:srgbClr val="47D52F"/>
    <a:srgbClr val="405A9C"/>
    <a:srgbClr val="C00000"/>
    <a:srgbClr val="7CA24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696" autoAdjust="0"/>
    <p:restoredTop sz="78391" autoAdjust="0"/>
  </p:normalViewPr>
  <p:slideViewPr>
    <p:cSldViewPr showGuides="1">
      <p:cViewPr varScale="1">
        <p:scale>
          <a:sx n="72" d="100"/>
          <a:sy n="72" d="100"/>
        </p:scale>
        <p:origin x="750" y="60"/>
      </p:cViewPr>
      <p:guideLst/>
    </p:cSldViewPr>
  </p:slideViewPr>
  <p:notesTextViewPr>
    <p:cViewPr>
      <p:scale>
        <a:sx n="1" d="1"/>
        <a:sy n="1" d="1"/>
      </p:scale>
      <p:origin x="0" y="0"/>
    </p:cViewPr>
  </p:notesTextViewPr>
  <p:sorterViewPr>
    <p:cViewPr varScale="1">
      <p:scale>
        <a:sx n="1" d="1"/>
        <a:sy n="1" d="1"/>
      </p:scale>
      <p:origin x="0" y="-9786"/>
    </p:cViewPr>
  </p:sorterViewPr>
  <p:notesViewPr>
    <p:cSldViewPr showGuides="1">
      <p:cViewPr>
        <p:scale>
          <a:sx n="75" d="100"/>
          <a:sy n="75" d="100"/>
        </p:scale>
        <p:origin x="3156" y="22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notesMaster" Target="notesMasters/notes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font" Target="fonts/font2.fntdata"/><Relationship Id="rId47" Type="http://schemas.openxmlformats.org/officeDocument/2006/relationships/font" Target="fonts/font7.fntdata"/><Relationship Id="rId50" Type="http://schemas.openxmlformats.org/officeDocument/2006/relationships/font" Target="fonts/font10.fntdata"/><Relationship Id="rId55"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font" Target="fonts/font6.fntdata"/><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font" Target="fonts/font1.fntdata"/><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handoutMaster" Target="handoutMasters/handoutMaster1.xml"/><Relationship Id="rId45" Type="http://schemas.openxmlformats.org/officeDocument/2006/relationships/font" Target="fonts/font5.fntdata"/><Relationship Id="rId53"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font" Target="fonts/font9.fntdata"/><Relationship Id="rId57"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font" Target="fonts/font4.fntdata"/><Relationship Id="rId52"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font" Target="fonts/font3.fntdata"/><Relationship Id="rId48" Type="http://schemas.openxmlformats.org/officeDocument/2006/relationships/font" Target="fonts/font8.fntdata"/><Relationship Id="rId56"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font" Target="fonts/font11.fntdata"/><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6.xml"/><Relationship Id="rId1" Type="http://schemas.microsoft.com/office/2011/relationships/chartStyle" Target="style6.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7.xml"/><Relationship Id="rId1" Type="http://schemas.microsoft.com/office/2011/relationships/chartStyle" Target="style7.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8.xml"/><Relationship Id="rId1" Type="http://schemas.microsoft.com/office/2011/relationships/chartStyle" Target="style8.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9.xml"/><Relationship Id="rId1" Type="http://schemas.microsoft.com/office/2011/relationships/chartStyle" Target="style9.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0.xml"/><Relationship Id="rId1" Type="http://schemas.microsoft.com/office/2011/relationships/chartStyle" Target="style10.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1.xml"/><Relationship Id="rId1" Type="http://schemas.microsoft.com/office/2011/relationships/chartStyle" Target="style11.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2.xml"/><Relationship Id="rId1" Type="http://schemas.microsoft.com/office/2011/relationships/chartStyle" Target="style12.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3.xml"/><Relationship Id="rId1" Type="http://schemas.microsoft.com/office/2011/relationships/chartStyle" Target="style13.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4.xml"/><Relationship Id="rId1" Type="http://schemas.microsoft.com/office/2011/relationships/chartStyle" Target="style14.xml"/></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20.xlsx"/></Relationships>
</file>

<file path=ppt/charts/_rels/chart2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image" Target="../media/image27.emf"/><Relationship Id="rId7" Type="http://schemas.openxmlformats.org/officeDocument/2006/relationships/package" Target="../embeddings/Microsoft_Excel_Worksheet23.xlsx"/><Relationship Id="rId2" Type="http://schemas.openxmlformats.org/officeDocument/2006/relationships/image" Target="../media/image26.emf"/><Relationship Id="rId1" Type="http://schemas.openxmlformats.org/officeDocument/2006/relationships/image" Target="../media/image25.png"/><Relationship Id="rId6" Type="http://schemas.openxmlformats.org/officeDocument/2006/relationships/image" Target="../media/image30.emf"/><Relationship Id="rId5" Type="http://schemas.openxmlformats.org/officeDocument/2006/relationships/image" Target="../media/image29.emf"/><Relationship Id="rId4" Type="http://schemas.openxmlformats.org/officeDocument/2006/relationships/image" Target="../media/image28.png"/></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15.xml"/><Relationship Id="rId1" Type="http://schemas.microsoft.com/office/2011/relationships/chartStyle" Target="style1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16.xml"/><Relationship Id="rId1" Type="http://schemas.microsoft.com/office/2011/relationships/chartStyle" Target="style16.xml"/></Relationships>
</file>

<file path=ppt/charts/_rels/chart27.xml.rels><?xml version="1.0" encoding="UTF-8" standalone="yes"?>
<Relationships xmlns="http://schemas.openxmlformats.org/package/2006/relationships"><Relationship Id="rId1" Type="http://schemas.openxmlformats.org/officeDocument/2006/relationships/package" Target="../embeddings/Microsoft_Excel_Worksheet26.xlsx"/></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17.xml"/><Relationship Id="rId1" Type="http://schemas.microsoft.com/office/2011/relationships/chartStyle" Target="style17.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2.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3.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4.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090166577756887E-2"/>
          <c:y val="5.8435709227665743E-2"/>
          <c:w val="0.93166812068382365"/>
          <c:h val="0.4673301030337968"/>
        </c:manualLayout>
      </c:layout>
      <c:barChart>
        <c:barDir val="bar"/>
        <c:grouping val="percentStacked"/>
        <c:varyColors val="0"/>
        <c:ser>
          <c:idx val="0"/>
          <c:order val="0"/>
          <c:tx>
            <c:strRef>
              <c:f>Sheet1!$B$1</c:f>
              <c:strCache>
                <c:ptCount val="1"/>
                <c:pt idx="0">
                  <c:v>Ingen grad</c:v>
                </c:pt>
              </c:strCache>
            </c:strRef>
          </c:tx>
          <c:spPr>
            <a:solidFill>
              <a:srgbClr val="00768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38</c:v>
                </c:pt>
              </c:numCache>
            </c:numRef>
          </c:val>
          <c:extLst>
            <c:ext xmlns:c16="http://schemas.microsoft.com/office/drawing/2014/chart" uri="{C3380CC4-5D6E-409C-BE32-E72D297353CC}">
              <c16:uniqueId val="{00000000-04FE-4EE9-99FA-2F26C28473ED}"/>
            </c:ext>
          </c:extLst>
        </c:ser>
        <c:ser>
          <c:idx val="1"/>
          <c:order val="1"/>
          <c:tx>
            <c:strRef>
              <c:f>Sheet1!$C$1</c:f>
              <c:strCache>
                <c:ptCount val="1"/>
                <c:pt idx="0">
                  <c:v>Liten grad</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35</c:v>
                </c:pt>
              </c:numCache>
            </c:numRef>
          </c:val>
          <c:extLst>
            <c:ext xmlns:c16="http://schemas.microsoft.com/office/drawing/2014/chart" uri="{C3380CC4-5D6E-409C-BE32-E72D297353CC}">
              <c16:uniqueId val="{00000001-04FE-4EE9-99FA-2F26C28473ED}"/>
            </c:ext>
          </c:extLst>
        </c:ser>
        <c:ser>
          <c:idx val="2"/>
          <c:order val="2"/>
          <c:tx>
            <c:strRef>
              <c:f>Sheet1!$D$1</c:f>
              <c:strCache>
                <c:ptCount val="1"/>
                <c:pt idx="0">
                  <c:v>Noen grad</c:v>
                </c:pt>
              </c:strCache>
            </c:strRef>
          </c:tx>
          <c:spPr>
            <a:solidFill>
              <a:srgbClr val="E6A28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21</c:v>
                </c:pt>
              </c:numCache>
            </c:numRef>
          </c:val>
          <c:extLst>
            <c:ext xmlns:c16="http://schemas.microsoft.com/office/drawing/2014/chart" uri="{C3380CC4-5D6E-409C-BE32-E72D297353CC}">
              <c16:uniqueId val="{00000002-04FE-4EE9-99FA-2F26C28473ED}"/>
            </c:ext>
          </c:extLst>
        </c:ser>
        <c:ser>
          <c:idx val="3"/>
          <c:order val="3"/>
          <c:tx>
            <c:strRef>
              <c:f>Sheet1!$E$1</c:f>
              <c:strCache>
                <c:ptCount val="1"/>
                <c:pt idx="0">
                  <c:v>Høy grad</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General</c:formatCode>
                <c:ptCount val="1"/>
                <c:pt idx="0">
                  <c:v>6</c:v>
                </c:pt>
              </c:numCache>
            </c:numRef>
          </c:val>
          <c:extLst>
            <c:ext xmlns:c16="http://schemas.microsoft.com/office/drawing/2014/chart" uri="{C3380CC4-5D6E-409C-BE32-E72D297353CC}">
              <c16:uniqueId val="{00000003-04FE-4EE9-99FA-2F26C28473ED}"/>
            </c:ext>
          </c:extLst>
        </c:ser>
        <c:ser>
          <c:idx val="4"/>
          <c:order val="4"/>
          <c:tx>
            <c:strRef>
              <c:f>Sheet1!$F$1</c:f>
              <c:strCache>
                <c:ptCount val="1"/>
                <c:pt idx="0">
                  <c:v>Vet ikke</c:v>
                </c:pt>
              </c:strCache>
            </c:strRef>
          </c:tx>
          <c:spPr>
            <a:solidFill>
              <a:schemeClr val="bg1">
                <a:lumMod val="75000"/>
              </a:schemeClr>
            </a:solidFill>
            <a:ln>
              <a:noFill/>
            </a:ln>
            <a:effectLst/>
          </c:spPr>
          <c:invertIfNegative val="0"/>
          <c:dLbls>
            <c:delete val="1"/>
          </c:dLbls>
          <c:cat>
            <c:strRef>
              <c:f>Sheet1!$A$2</c:f>
              <c:strCache>
                <c:ptCount val="1"/>
                <c:pt idx="0">
                  <c:v>Category 1</c:v>
                </c:pt>
              </c:strCache>
            </c:strRef>
          </c:cat>
          <c:val>
            <c:numRef>
              <c:f>Sheet1!$F$2</c:f>
              <c:numCache>
                <c:formatCode>General</c:formatCode>
                <c:ptCount val="1"/>
                <c:pt idx="0">
                  <c:v>0</c:v>
                </c:pt>
              </c:numCache>
            </c:numRef>
          </c:val>
          <c:extLst>
            <c:ext xmlns:c16="http://schemas.microsoft.com/office/drawing/2014/chart" uri="{C3380CC4-5D6E-409C-BE32-E72D297353CC}">
              <c16:uniqueId val="{00000004-04FE-4EE9-99FA-2F26C28473ED}"/>
            </c:ext>
          </c:extLst>
        </c:ser>
        <c:dLbls>
          <c:dLblPos val="ctr"/>
          <c:showLegendKey val="0"/>
          <c:showVal val="1"/>
          <c:showCatName val="0"/>
          <c:showSerName val="0"/>
          <c:showPercent val="0"/>
          <c:showBubbleSize val="0"/>
        </c:dLbls>
        <c:gapWidth val="104"/>
        <c:overlap val="100"/>
        <c:axId val="419523816"/>
        <c:axId val="419528080"/>
      </c:barChart>
      <c:catAx>
        <c:axId val="419523816"/>
        <c:scaling>
          <c:orientation val="minMax"/>
        </c:scaling>
        <c:delete val="1"/>
        <c:axPos val="l"/>
        <c:numFmt formatCode="General" sourceLinked="1"/>
        <c:majorTickMark val="none"/>
        <c:minorTickMark val="none"/>
        <c:tickLblPos val="nextTo"/>
        <c:crossAx val="419528080"/>
        <c:crosses val="autoZero"/>
        <c:auto val="1"/>
        <c:lblAlgn val="ctr"/>
        <c:lblOffset val="100"/>
        <c:noMultiLvlLbl val="0"/>
      </c:catAx>
      <c:valAx>
        <c:axId val="419528080"/>
        <c:scaling>
          <c:orientation val="minMax"/>
        </c:scaling>
        <c:delete val="1"/>
        <c:axPos val="b"/>
        <c:numFmt formatCode="0%" sourceLinked="1"/>
        <c:majorTickMark val="none"/>
        <c:minorTickMark val="none"/>
        <c:tickLblPos val="nextTo"/>
        <c:crossAx val="419523816"/>
        <c:crosses val="autoZero"/>
        <c:crossBetween val="between"/>
        <c:majorUnit val="0.2"/>
      </c:valAx>
      <c:spPr>
        <a:noFill/>
        <a:ln>
          <a:noFill/>
        </a:ln>
        <a:effectLst/>
      </c:spPr>
    </c:plotArea>
    <c:legend>
      <c:legendPos val="b"/>
      <c:layout>
        <c:manualLayout>
          <c:xMode val="edge"/>
          <c:yMode val="edge"/>
          <c:x val="2.3584706085412039E-2"/>
          <c:y val="0.5750202203206134"/>
          <c:w val="0.94586233874430214"/>
          <c:h val="0.107875260979831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Ark1'!$B$1</c:f>
              <c:strCache>
                <c:ptCount val="1"/>
                <c:pt idx="0">
                  <c:v>Mer lyd</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7</c:f>
              <c:strCache>
                <c:ptCount val="6"/>
                <c:pt idx="0">
                  <c:v>Bjørndal</c:v>
                </c:pt>
                <c:pt idx="1">
                  <c:v>Sofiemyr</c:v>
                </c:pt>
                <c:pt idx="2">
                  <c:v>Tårnåsen</c:v>
                </c:pt>
                <c:pt idx="3">
                  <c:v>Oppegård</c:v>
                </c:pt>
                <c:pt idx="4">
                  <c:v>Langhus</c:v>
                </c:pt>
                <c:pt idx="5">
                  <c:v>Total</c:v>
                </c:pt>
              </c:strCache>
            </c:strRef>
          </c:cat>
          <c:val>
            <c:numRef>
              <c:f>'Ark1'!$B$2:$B$7</c:f>
              <c:numCache>
                <c:formatCode>General</c:formatCode>
                <c:ptCount val="6"/>
                <c:pt idx="0">
                  <c:v>20</c:v>
                </c:pt>
                <c:pt idx="1">
                  <c:v>14</c:v>
                </c:pt>
                <c:pt idx="2">
                  <c:v>6</c:v>
                </c:pt>
                <c:pt idx="3">
                  <c:v>16</c:v>
                </c:pt>
                <c:pt idx="4">
                  <c:v>27</c:v>
                </c:pt>
                <c:pt idx="5">
                  <c:v>19</c:v>
                </c:pt>
              </c:numCache>
            </c:numRef>
          </c:val>
          <c:extLst>
            <c:ext xmlns:c16="http://schemas.microsoft.com/office/drawing/2014/chart" uri="{C3380CC4-5D6E-409C-BE32-E72D297353CC}">
              <c16:uniqueId val="{00000000-4EB4-42ED-9E0D-070D5C73D028}"/>
            </c:ext>
          </c:extLst>
        </c:ser>
        <c:ser>
          <c:idx val="1"/>
          <c:order val="1"/>
          <c:tx>
            <c:strRef>
              <c:f>'Ark1'!$C$1</c:f>
              <c:strCache>
                <c:ptCount val="1"/>
                <c:pt idx="0">
                  <c:v>Omtrent like mye</c:v>
                </c:pt>
              </c:strCache>
            </c:strRef>
          </c:tx>
          <c:spPr>
            <a:solidFill>
              <a:srgbClr val="E6A28E"/>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7</c:f>
              <c:strCache>
                <c:ptCount val="6"/>
                <c:pt idx="0">
                  <c:v>Bjørndal</c:v>
                </c:pt>
                <c:pt idx="1">
                  <c:v>Sofiemyr</c:v>
                </c:pt>
                <c:pt idx="2">
                  <c:v>Tårnåsen</c:v>
                </c:pt>
                <c:pt idx="3">
                  <c:v>Oppegård</c:v>
                </c:pt>
                <c:pt idx="4">
                  <c:v>Langhus</c:v>
                </c:pt>
                <c:pt idx="5">
                  <c:v>Total</c:v>
                </c:pt>
              </c:strCache>
            </c:strRef>
          </c:cat>
          <c:val>
            <c:numRef>
              <c:f>'Ark1'!$C$2:$C$7</c:f>
              <c:numCache>
                <c:formatCode>General</c:formatCode>
                <c:ptCount val="6"/>
                <c:pt idx="0">
                  <c:v>19</c:v>
                </c:pt>
                <c:pt idx="1">
                  <c:v>18</c:v>
                </c:pt>
                <c:pt idx="2">
                  <c:v>18</c:v>
                </c:pt>
                <c:pt idx="3">
                  <c:v>31</c:v>
                </c:pt>
                <c:pt idx="4">
                  <c:v>27</c:v>
                </c:pt>
                <c:pt idx="5">
                  <c:v>25</c:v>
                </c:pt>
              </c:numCache>
            </c:numRef>
          </c:val>
          <c:extLst>
            <c:ext xmlns:c16="http://schemas.microsoft.com/office/drawing/2014/chart" uri="{C3380CC4-5D6E-409C-BE32-E72D297353CC}">
              <c16:uniqueId val="{00000001-4EB4-42ED-9E0D-070D5C73D028}"/>
            </c:ext>
          </c:extLst>
        </c:ser>
        <c:ser>
          <c:idx val="2"/>
          <c:order val="2"/>
          <c:tx>
            <c:strRef>
              <c:f>'Ark1'!$D$1</c:f>
              <c:strCache>
                <c:ptCount val="1"/>
                <c:pt idx="0">
                  <c:v>Mindre lyd</c:v>
                </c:pt>
              </c:strCache>
            </c:strRef>
          </c:tx>
          <c:spPr>
            <a:solidFill>
              <a:srgbClr val="00768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7</c:f>
              <c:strCache>
                <c:ptCount val="6"/>
                <c:pt idx="0">
                  <c:v>Bjørndal</c:v>
                </c:pt>
                <c:pt idx="1">
                  <c:v>Sofiemyr</c:v>
                </c:pt>
                <c:pt idx="2">
                  <c:v>Tårnåsen</c:v>
                </c:pt>
                <c:pt idx="3">
                  <c:v>Oppegård</c:v>
                </c:pt>
                <c:pt idx="4">
                  <c:v>Langhus</c:v>
                </c:pt>
                <c:pt idx="5">
                  <c:v>Total</c:v>
                </c:pt>
              </c:strCache>
            </c:strRef>
          </c:cat>
          <c:val>
            <c:numRef>
              <c:f>'Ark1'!$D$2:$D$7</c:f>
              <c:numCache>
                <c:formatCode>General</c:formatCode>
                <c:ptCount val="6"/>
                <c:pt idx="0">
                  <c:v>42</c:v>
                </c:pt>
                <c:pt idx="1">
                  <c:v>63</c:v>
                </c:pt>
                <c:pt idx="2">
                  <c:v>70</c:v>
                </c:pt>
                <c:pt idx="3">
                  <c:v>41</c:v>
                </c:pt>
                <c:pt idx="4">
                  <c:v>29</c:v>
                </c:pt>
                <c:pt idx="5">
                  <c:v>43</c:v>
                </c:pt>
              </c:numCache>
            </c:numRef>
          </c:val>
          <c:extLst>
            <c:ext xmlns:c16="http://schemas.microsoft.com/office/drawing/2014/chart" uri="{C3380CC4-5D6E-409C-BE32-E72D297353CC}">
              <c16:uniqueId val="{00000002-4EB4-42ED-9E0D-070D5C73D028}"/>
            </c:ext>
          </c:extLst>
        </c:ser>
        <c:ser>
          <c:idx val="3"/>
          <c:order val="3"/>
          <c:tx>
            <c:strRef>
              <c:f>'Ark1'!$E$1</c:f>
              <c:strCache>
                <c:ptCount val="1"/>
                <c:pt idx="0">
                  <c:v>Vet ikke</c:v>
                </c:pt>
              </c:strCache>
            </c:strRef>
          </c:tx>
          <c:spPr>
            <a:solidFill>
              <a:srgbClr val="D9D9D9"/>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Ark1'!$A$2:$A$7</c:f>
              <c:strCache>
                <c:ptCount val="6"/>
                <c:pt idx="0">
                  <c:v>Bjørndal</c:v>
                </c:pt>
                <c:pt idx="1">
                  <c:v>Sofiemyr</c:v>
                </c:pt>
                <c:pt idx="2">
                  <c:v>Tårnåsen</c:v>
                </c:pt>
                <c:pt idx="3">
                  <c:v>Oppegård</c:v>
                </c:pt>
                <c:pt idx="4">
                  <c:v>Langhus</c:v>
                </c:pt>
                <c:pt idx="5">
                  <c:v>Total</c:v>
                </c:pt>
              </c:strCache>
            </c:strRef>
          </c:cat>
          <c:val>
            <c:numRef>
              <c:f>'Ark1'!$E$2:$E$7</c:f>
              <c:numCache>
                <c:formatCode>General</c:formatCode>
                <c:ptCount val="6"/>
                <c:pt idx="0">
                  <c:v>18</c:v>
                </c:pt>
                <c:pt idx="1">
                  <c:v>5</c:v>
                </c:pt>
                <c:pt idx="2">
                  <c:v>6</c:v>
                </c:pt>
                <c:pt idx="3">
                  <c:v>12</c:v>
                </c:pt>
                <c:pt idx="4">
                  <c:v>17</c:v>
                </c:pt>
                <c:pt idx="5">
                  <c:v>13</c:v>
                </c:pt>
              </c:numCache>
            </c:numRef>
          </c:val>
          <c:extLst>
            <c:ext xmlns:c16="http://schemas.microsoft.com/office/drawing/2014/chart" uri="{C3380CC4-5D6E-409C-BE32-E72D297353CC}">
              <c16:uniqueId val="{00000004-4EB4-42ED-9E0D-070D5C73D028}"/>
            </c:ext>
          </c:extLst>
        </c:ser>
        <c:dLbls>
          <c:dLblPos val="ctr"/>
          <c:showLegendKey val="0"/>
          <c:showVal val="1"/>
          <c:showCatName val="0"/>
          <c:showSerName val="0"/>
          <c:showPercent val="0"/>
          <c:showBubbleSize val="0"/>
        </c:dLbls>
        <c:gapWidth val="150"/>
        <c:overlap val="100"/>
        <c:axId val="937451656"/>
        <c:axId val="937445424"/>
      </c:barChart>
      <c:catAx>
        <c:axId val="93745165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nb-NO"/>
          </a:p>
        </c:txPr>
        <c:crossAx val="937445424"/>
        <c:crosses val="autoZero"/>
        <c:auto val="1"/>
        <c:lblAlgn val="ctr"/>
        <c:lblOffset val="100"/>
        <c:noMultiLvlLbl val="0"/>
      </c:catAx>
      <c:valAx>
        <c:axId val="937445424"/>
        <c:scaling>
          <c:orientation val="minMax"/>
        </c:scaling>
        <c:delete val="1"/>
        <c:axPos val="b"/>
        <c:numFmt formatCode="0%" sourceLinked="1"/>
        <c:majorTickMark val="out"/>
        <c:minorTickMark val="none"/>
        <c:tickLblPos val="nextTo"/>
        <c:crossAx val="937451656"/>
        <c:crosses val="autoZero"/>
        <c:crossBetween val="between"/>
      </c:valAx>
      <c:spPr>
        <a:noFill/>
        <a:ln>
          <a:noFill/>
        </a:ln>
        <a:effectLst/>
      </c:spPr>
    </c:plotArea>
    <c:legend>
      <c:legendPos val="r"/>
      <c:layout>
        <c:manualLayout>
          <c:xMode val="edge"/>
          <c:yMode val="edge"/>
          <c:x val="0.86923334334038338"/>
          <c:y val="0.23658800890331391"/>
          <c:w val="0.12957220613319309"/>
          <c:h val="0.6214257717239971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165591357057891E-2"/>
          <c:y val="0.21955820071269985"/>
          <c:w val="0.93166812068382365"/>
          <c:h val="0.4673301030337968"/>
        </c:manualLayout>
      </c:layout>
      <c:barChart>
        <c:barDir val="bar"/>
        <c:grouping val="percentStacked"/>
        <c:varyColors val="0"/>
        <c:ser>
          <c:idx val="3"/>
          <c:order val="0"/>
          <c:tx>
            <c:strRef>
              <c:f>Sheet1!$E$1</c:f>
              <c:strCache>
                <c:ptCount val="1"/>
                <c:pt idx="0">
                  <c:v>Høy grad</c:v>
                </c:pt>
              </c:strCache>
            </c:strRef>
          </c:tx>
          <c:spPr>
            <a:solidFill>
              <a:srgbClr val="00768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General</c:formatCode>
                <c:ptCount val="1"/>
                <c:pt idx="0">
                  <c:v>9</c:v>
                </c:pt>
              </c:numCache>
            </c:numRef>
          </c:val>
          <c:extLst>
            <c:ext xmlns:c16="http://schemas.microsoft.com/office/drawing/2014/chart" uri="{C3380CC4-5D6E-409C-BE32-E72D297353CC}">
              <c16:uniqueId val="{00000003-B8FE-4AB3-9FA9-38970466602D}"/>
            </c:ext>
          </c:extLst>
        </c:ser>
        <c:ser>
          <c:idx val="2"/>
          <c:order val="1"/>
          <c:tx>
            <c:strRef>
              <c:f>Sheet1!$D$1</c:f>
              <c:strCache>
                <c:ptCount val="1"/>
                <c:pt idx="0">
                  <c:v>Noen grad</c:v>
                </c:pt>
              </c:strCache>
            </c:strRef>
          </c:tx>
          <c:spPr>
            <a:solidFill>
              <a:srgbClr val="009D9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24</c:v>
                </c:pt>
              </c:numCache>
            </c:numRef>
          </c:val>
          <c:extLst>
            <c:ext xmlns:c16="http://schemas.microsoft.com/office/drawing/2014/chart" uri="{C3380CC4-5D6E-409C-BE32-E72D297353CC}">
              <c16:uniqueId val="{00000002-B8FE-4AB3-9FA9-38970466602D}"/>
            </c:ext>
          </c:extLst>
        </c:ser>
        <c:ser>
          <c:idx val="1"/>
          <c:order val="2"/>
          <c:tx>
            <c:strRef>
              <c:f>Sheet1!$C$1</c:f>
              <c:strCache>
                <c:ptCount val="1"/>
                <c:pt idx="0">
                  <c:v>Liten grad</c:v>
                </c:pt>
              </c:strCache>
            </c:strRef>
          </c:tx>
          <c:spPr>
            <a:solidFill>
              <a:srgbClr val="E6A28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34</c:v>
                </c:pt>
              </c:numCache>
            </c:numRef>
          </c:val>
          <c:extLst>
            <c:ext xmlns:c16="http://schemas.microsoft.com/office/drawing/2014/chart" uri="{C3380CC4-5D6E-409C-BE32-E72D297353CC}">
              <c16:uniqueId val="{00000001-B8FE-4AB3-9FA9-38970466602D}"/>
            </c:ext>
          </c:extLst>
        </c:ser>
        <c:ser>
          <c:idx val="0"/>
          <c:order val="3"/>
          <c:tx>
            <c:strRef>
              <c:f>Sheet1!$B$1</c:f>
              <c:strCache>
                <c:ptCount val="1"/>
                <c:pt idx="0">
                  <c:v>Ingen grad</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30</c:v>
                </c:pt>
              </c:numCache>
            </c:numRef>
          </c:val>
          <c:extLst>
            <c:ext xmlns:c16="http://schemas.microsoft.com/office/drawing/2014/chart" uri="{C3380CC4-5D6E-409C-BE32-E72D297353CC}">
              <c16:uniqueId val="{00000000-B8FE-4AB3-9FA9-38970466602D}"/>
            </c:ext>
          </c:extLst>
        </c:ser>
        <c:ser>
          <c:idx val="4"/>
          <c:order val="4"/>
          <c:tx>
            <c:strRef>
              <c:f>Sheet1!$F$1</c:f>
              <c:strCache>
                <c:ptCount val="1"/>
                <c:pt idx="0">
                  <c:v>Vet ikk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F$2</c:f>
              <c:numCache>
                <c:formatCode>General</c:formatCode>
                <c:ptCount val="1"/>
                <c:pt idx="0">
                  <c:v>2</c:v>
                </c:pt>
              </c:numCache>
            </c:numRef>
          </c:val>
          <c:extLst>
            <c:ext xmlns:c16="http://schemas.microsoft.com/office/drawing/2014/chart" uri="{C3380CC4-5D6E-409C-BE32-E72D297353CC}">
              <c16:uniqueId val="{00000004-B8FE-4AB3-9FA9-38970466602D}"/>
            </c:ext>
          </c:extLst>
        </c:ser>
        <c:dLbls>
          <c:dLblPos val="ctr"/>
          <c:showLegendKey val="0"/>
          <c:showVal val="1"/>
          <c:showCatName val="0"/>
          <c:showSerName val="0"/>
          <c:showPercent val="0"/>
          <c:showBubbleSize val="0"/>
        </c:dLbls>
        <c:gapWidth val="104"/>
        <c:overlap val="100"/>
        <c:axId val="419523816"/>
        <c:axId val="419528080"/>
      </c:barChart>
      <c:catAx>
        <c:axId val="419523816"/>
        <c:scaling>
          <c:orientation val="minMax"/>
        </c:scaling>
        <c:delete val="1"/>
        <c:axPos val="l"/>
        <c:numFmt formatCode="General" sourceLinked="1"/>
        <c:majorTickMark val="none"/>
        <c:minorTickMark val="none"/>
        <c:tickLblPos val="nextTo"/>
        <c:crossAx val="419528080"/>
        <c:crosses val="autoZero"/>
        <c:auto val="1"/>
        <c:lblAlgn val="ctr"/>
        <c:lblOffset val="100"/>
        <c:noMultiLvlLbl val="0"/>
      </c:catAx>
      <c:valAx>
        <c:axId val="419528080"/>
        <c:scaling>
          <c:orientation val="minMax"/>
        </c:scaling>
        <c:delete val="1"/>
        <c:axPos val="b"/>
        <c:numFmt formatCode="0%" sourceLinked="1"/>
        <c:majorTickMark val="none"/>
        <c:minorTickMark val="none"/>
        <c:tickLblPos val="nextTo"/>
        <c:crossAx val="419523816"/>
        <c:crosses val="autoZero"/>
        <c:crossBetween val="between"/>
        <c:majorUnit val="0.2"/>
      </c:valAx>
      <c:spPr>
        <a:noFill/>
        <a:ln>
          <a:noFill/>
        </a:ln>
        <a:effectLst/>
      </c:spPr>
    </c:plotArea>
    <c:legend>
      <c:legendPos val="b"/>
      <c:layout>
        <c:manualLayout>
          <c:xMode val="edge"/>
          <c:yMode val="edge"/>
          <c:x val="2.0301622970886755E-2"/>
          <c:y val="0.69828321359621892"/>
          <c:w val="0.94586233874430214"/>
          <c:h val="0.107875260979831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819135005892032"/>
          <c:y val="7.4524146074240585E-2"/>
          <c:w val="0.57370821570632702"/>
          <c:h val="0.86382454688322419"/>
        </c:manualLayout>
      </c:layout>
      <c:barChart>
        <c:barDir val="bar"/>
        <c:grouping val="stacked"/>
        <c:varyColors val="0"/>
        <c:ser>
          <c:idx val="0"/>
          <c:order val="0"/>
          <c:tx>
            <c:strRef>
              <c:f>Sheet1!$B$1</c:f>
              <c:strCache>
                <c:ptCount val="1"/>
                <c:pt idx="0">
                  <c:v>Series 1</c:v>
                </c:pt>
              </c:strCache>
            </c:strRef>
          </c:tx>
          <c:spPr>
            <a:solidFill>
              <a:srgbClr val="009D9C"/>
            </a:solidFill>
            <a:ln>
              <a:noFill/>
            </a:ln>
            <a:effectLst/>
          </c:spPr>
          <c:invertIfNegative val="0"/>
          <c:dPt>
            <c:idx val="2"/>
            <c:invertIfNegative val="0"/>
            <c:bubble3D val="0"/>
            <c:spPr>
              <a:solidFill>
                <a:srgbClr val="009D9C"/>
              </a:solidFill>
              <a:ln>
                <a:noFill/>
              </a:ln>
              <a:effectLst/>
            </c:spPr>
            <c:extLst>
              <c:ext xmlns:c16="http://schemas.microsoft.com/office/drawing/2014/chart" uri="{C3380CC4-5D6E-409C-BE32-E72D297353CC}">
                <c16:uniqueId val="{00000001-4C85-4AFA-94FB-52BD49020376}"/>
              </c:ext>
            </c:extLst>
          </c:dPt>
          <c:dPt>
            <c:idx val="4"/>
            <c:invertIfNegative val="0"/>
            <c:bubble3D val="0"/>
            <c:spPr>
              <a:solidFill>
                <a:srgbClr val="009D9C"/>
              </a:solidFill>
              <a:ln>
                <a:noFill/>
              </a:ln>
              <a:effectLst/>
            </c:spPr>
            <c:extLst>
              <c:ext xmlns:c16="http://schemas.microsoft.com/office/drawing/2014/chart" uri="{C3380CC4-5D6E-409C-BE32-E72D297353CC}">
                <c16:uniqueId val="{00000003-4C85-4AFA-94FB-52BD49020376}"/>
              </c:ext>
            </c:extLst>
          </c:dPt>
          <c:dPt>
            <c:idx val="6"/>
            <c:invertIfNegative val="0"/>
            <c:bubble3D val="0"/>
            <c:spPr>
              <a:solidFill>
                <a:srgbClr val="009D9C"/>
              </a:solidFill>
              <a:ln>
                <a:noFill/>
              </a:ln>
              <a:effectLst/>
            </c:spPr>
            <c:extLst>
              <c:ext xmlns:c16="http://schemas.microsoft.com/office/drawing/2014/chart" uri="{C3380CC4-5D6E-409C-BE32-E72D297353CC}">
                <c16:uniqueId val="{00000005-4C85-4AFA-94FB-52BD49020376}"/>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Vet ikke</c:v>
                </c:pt>
                <c:pt idx="1">
                  <c:v>Andre steder</c:v>
                </c:pt>
                <c:pt idx="2">
                  <c:v>Politiets hjemmesider</c:v>
                </c:pt>
                <c:pt idx="3">
                  <c:v>Venner/bekjente i nærområdet</c:v>
                </c:pt>
                <c:pt idx="4">
                  <c:v>«Stopp Støyen» eller lignende sider</c:v>
                </c:pt>
                <c:pt idx="5">
                  <c:v>Åpen dag på beredskapssenteret</c:v>
                </c:pt>
                <c:pt idx="6">
                  <c:v>Facebook</c:v>
                </c:pt>
                <c:pt idx="7">
                  <c:v>Lokale medier / Lokalavis</c:v>
                </c:pt>
              </c:strCache>
            </c:strRef>
          </c:cat>
          <c:val>
            <c:numRef>
              <c:f>Sheet1!$B$2:$B$9</c:f>
              <c:numCache>
                <c:formatCode>General</c:formatCode>
                <c:ptCount val="8"/>
                <c:pt idx="0">
                  <c:v>4</c:v>
                </c:pt>
                <c:pt idx="1">
                  <c:v>28</c:v>
                </c:pt>
                <c:pt idx="2">
                  <c:v>4</c:v>
                </c:pt>
                <c:pt idx="3">
                  <c:v>7</c:v>
                </c:pt>
                <c:pt idx="4">
                  <c:v>8</c:v>
                </c:pt>
                <c:pt idx="5">
                  <c:v>10</c:v>
                </c:pt>
                <c:pt idx="6">
                  <c:v>17</c:v>
                </c:pt>
                <c:pt idx="7">
                  <c:v>72</c:v>
                </c:pt>
              </c:numCache>
            </c:numRef>
          </c:val>
          <c:extLst>
            <c:ext xmlns:c16="http://schemas.microsoft.com/office/drawing/2014/chart" uri="{C3380CC4-5D6E-409C-BE32-E72D297353CC}">
              <c16:uniqueId val="{00000006-5A4E-4518-A53A-BFB301CBAB7B}"/>
            </c:ext>
          </c:extLst>
        </c:ser>
        <c:dLbls>
          <c:showLegendKey val="0"/>
          <c:showVal val="1"/>
          <c:showCatName val="0"/>
          <c:showSerName val="0"/>
          <c:showPercent val="0"/>
          <c:showBubbleSize val="0"/>
        </c:dLbls>
        <c:gapWidth val="182"/>
        <c:overlap val="100"/>
        <c:axId val="676344616"/>
        <c:axId val="676344288"/>
      </c:barChart>
      <c:catAx>
        <c:axId val="67634461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676344288"/>
        <c:crosses val="autoZero"/>
        <c:auto val="1"/>
        <c:lblAlgn val="ctr"/>
        <c:lblOffset val="100"/>
        <c:noMultiLvlLbl val="0"/>
      </c:catAx>
      <c:valAx>
        <c:axId val="676344288"/>
        <c:scaling>
          <c:orientation val="minMax"/>
          <c:max val="60"/>
        </c:scaling>
        <c:delete val="1"/>
        <c:axPos val="b"/>
        <c:numFmt formatCode="#&quot;%&quot;" sourceLinked="0"/>
        <c:majorTickMark val="out"/>
        <c:minorTickMark val="none"/>
        <c:tickLblPos val="nextTo"/>
        <c:crossAx val="67634461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941249827090905E-2"/>
          <c:y val="0.11662443230704332"/>
          <c:w val="0.93166812068382365"/>
          <c:h val="0.4673301030337968"/>
        </c:manualLayout>
      </c:layout>
      <c:barChart>
        <c:barDir val="bar"/>
        <c:grouping val="percentStacked"/>
        <c:varyColors val="0"/>
        <c:ser>
          <c:idx val="3"/>
          <c:order val="0"/>
          <c:tx>
            <c:strRef>
              <c:f>Sheet1!$E$1</c:f>
              <c:strCache>
                <c:ptCount val="1"/>
                <c:pt idx="0">
                  <c:v>Høy grad</c:v>
                </c:pt>
              </c:strCache>
            </c:strRef>
          </c:tx>
          <c:spPr>
            <a:solidFill>
              <a:srgbClr val="00768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General</c:formatCode>
                <c:ptCount val="1"/>
                <c:pt idx="0">
                  <c:v>11</c:v>
                </c:pt>
              </c:numCache>
            </c:numRef>
          </c:val>
          <c:extLst>
            <c:ext xmlns:c16="http://schemas.microsoft.com/office/drawing/2014/chart" uri="{C3380CC4-5D6E-409C-BE32-E72D297353CC}">
              <c16:uniqueId val="{00000000-08E1-445F-A8E2-406525F2EC58}"/>
            </c:ext>
          </c:extLst>
        </c:ser>
        <c:ser>
          <c:idx val="2"/>
          <c:order val="1"/>
          <c:tx>
            <c:strRef>
              <c:f>Sheet1!$D$1</c:f>
              <c:strCache>
                <c:ptCount val="1"/>
                <c:pt idx="0">
                  <c:v>Noen grad</c:v>
                </c:pt>
              </c:strCache>
            </c:strRef>
          </c:tx>
          <c:spPr>
            <a:solidFill>
              <a:srgbClr val="009D9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29</c:v>
                </c:pt>
              </c:numCache>
            </c:numRef>
          </c:val>
          <c:extLst>
            <c:ext xmlns:c16="http://schemas.microsoft.com/office/drawing/2014/chart" uri="{C3380CC4-5D6E-409C-BE32-E72D297353CC}">
              <c16:uniqueId val="{00000001-08E1-445F-A8E2-406525F2EC58}"/>
            </c:ext>
          </c:extLst>
        </c:ser>
        <c:ser>
          <c:idx val="1"/>
          <c:order val="2"/>
          <c:tx>
            <c:strRef>
              <c:f>Sheet1!$C$1</c:f>
              <c:strCache>
                <c:ptCount val="1"/>
                <c:pt idx="0">
                  <c:v>Liten grad</c:v>
                </c:pt>
              </c:strCache>
            </c:strRef>
          </c:tx>
          <c:spPr>
            <a:solidFill>
              <a:srgbClr val="E6A28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27</c:v>
                </c:pt>
              </c:numCache>
            </c:numRef>
          </c:val>
          <c:extLst>
            <c:ext xmlns:c16="http://schemas.microsoft.com/office/drawing/2014/chart" uri="{C3380CC4-5D6E-409C-BE32-E72D297353CC}">
              <c16:uniqueId val="{00000002-08E1-445F-A8E2-406525F2EC58}"/>
            </c:ext>
          </c:extLst>
        </c:ser>
        <c:ser>
          <c:idx val="0"/>
          <c:order val="3"/>
          <c:tx>
            <c:strRef>
              <c:f>Sheet1!$B$1</c:f>
              <c:strCache>
                <c:ptCount val="1"/>
                <c:pt idx="0">
                  <c:v>Ingen grad</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31</c:v>
                </c:pt>
              </c:numCache>
            </c:numRef>
          </c:val>
          <c:extLst>
            <c:ext xmlns:c16="http://schemas.microsoft.com/office/drawing/2014/chart" uri="{C3380CC4-5D6E-409C-BE32-E72D297353CC}">
              <c16:uniqueId val="{00000003-08E1-445F-A8E2-406525F2EC58}"/>
            </c:ext>
          </c:extLst>
        </c:ser>
        <c:ser>
          <c:idx val="4"/>
          <c:order val="4"/>
          <c:tx>
            <c:strRef>
              <c:f>Sheet1!$F$1</c:f>
              <c:strCache>
                <c:ptCount val="1"/>
                <c:pt idx="0">
                  <c:v>Vet ikke</c:v>
                </c:pt>
              </c:strCache>
            </c:strRef>
          </c:tx>
          <c:spPr>
            <a:solidFill>
              <a:schemeClr val="bg1">
                <a:lumMod val="75000"/>
              </a:schemeClr>
            </a:solidFill>
            <a:ln>
              <a:noFill/>
            </a:ln>
            <a:effectLst/>
          </c:spPr>
          <c:invertIfNegative val="0"/>
          <c:dLbls>
            <c:dLbl>
              <c:idx val="0"/>
              <c:tx>
                <c:rich>
                  <a:bodyPr/>
                  <a:lstStyle/>
                  <a:p>
                    <a:r>
                      <a:rPr lang="en-US" dirty="0"/>
                      <a:t>1</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08E1-445F-A8E2-406525F2EC58}"/>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F$2</c:f>
              <c:numCache>
                <c:formatCode>General</c:formatCode>
                <c:ptCount val="1"/>
                <c:pt idx="0">
                  <c:v>2</c:v>
                </c:pt>
              </c:numCache>
            </c:numRef>
          </c:val>
          <c:extLst>
            <c:ext xmlns:c16="http://schemas.microsoft.com/office/drawing/2014/chart" uri="{C3380CC4-5D6E-409C-BE32-E72D297353CC}">
              <c16:uniqueId val="{00000004-08E1-445F-A8E2-406525F2EC58}"/>
            </c:ext>
          </c:extLst>
        </c:ser>
        <c:dLbls>
          <c:dLblPos val="ctr"/>
          <c:showLegendKey val="0"/>
          <c:showVal val="1"/>
          <c:showCatName val="0"/>
          <c:showSerName val="0"/>
          <c:showPercent val="0"/>
          <c:showBubbleSize val="0"/>
        </c:dLbls>
        <c:gapWidth val="104"/>
        <c:overlap val="100"/>
        <c:axId val="419523816"/>
        <c:axId val="419528080"/>
      </c:barChart>
      <c:catAx>
        <c:axId val="419523816"/>
        <c:scaling>
          <c:orientation val="minMax"/>
        </c:scaling>
        <c:delete val="1"/>
        <c:axPos val="l"/>
        <c:numFmt formatCode="General" sourceLinked="1"/>
        <c:majorTickMark val="none"/>
        <c:minorTickMark val="none"/>
        <c:tickLblPos val="nextTo"/>
        <c:crossAx val="419528080"/>
        <c:crosses val="autoZero"/>
        <c:auto val="1"/>
        <c:lblAlgn val="ctr"/>
        <c:lblOffset val="100"/>
        <c:noMultiLvlLbl val="0"/>
      </c:catAx>
      <c:valAx>
        <c:axId val="419528080"/>
        <c:scaling>
          <c:orientation val="minMax"/>
        </c:scaling>
        <c:delete val="1"/>
        <c:axPos val="b"/>
        <c:numFmt formatCode="0%" sourceLinked="1"/>
        <c:majorTickMark val="none"/>
        <c:minorTickMark val="none"/>
        <c:tickLblPos val="nextTo"/>
        <c:crossAx val="419523816"/>
        <c:crosses val="autoZero"/>
        <c:crossBetween val="between"/>
        <c:majorUnit val="0.2"/>
      </c:valAx>
      <c:spPr>
        <a:noFill/>
        <a:ln>
          <a:noFill/>
        </a:ln>
        <a:effectLst/>
      </c:spPr>
    </c:plotArea>
    <c:legend>
      <c:legendPos val="b"/>
      <c:layout>
        <c:manualLayout>
          <c:xMode val="edge"/>
          <c:yMode val="edge"/>
          <c:x val="2.352502729531265E-2"/>
          <c:y val="0.56943665811506783"/>
          <c:w val="0.94586233874430214"/>
          <c:h val="0.107875260979831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13462867200095"/>
          <c:y val="5.6500453163509705E-2"/>
          <c:w val="0.43502021630241033"/>
          <c:h val="0.86382454688322419"/>
        </c:manualLayout>
      </c:layout>
      <c:barChart>
        <c:barDir val="bar"/>
        <c:grouping val="stacked"/>
        <c:varyColors val="0"/>
        <c:ser>
          <c:idx val="0"/>
          <c:order val="0"/>
          <c:tx>
            <c:strRef>
              <c:f>Sheet1!$B$1</c:f>
              <c:strCache>
                <c:ptCount val="1"/>
                <c:pt idx="0">
                  <c:v>Series 1</c:v>
                </c:pt>
              </c:strCache>
            </c:strRef>
          </c:tx>
          <c:spPr>
            <a:solidFill>
              <a:srgbClr val="009D9C"/>
            </a:solidFill>
            <a:ln>
              <a:noFill/>
            </a:ln>
            <a:effectLst/>
          </c:spPr>
          <c:invertIfNegative val="0"/>
          <c:dPt>
            <c:idx val="0"/>
            <c:invertIfNegative val="0"/>
            <c:bubble3D val="0"/>
            <c:spPr>
              <a:solidFill>
                <a:srgbClr val="009D9C"/>
              </a:solidFill>
              <a:ln>
                <a:noFill/>
              </a:ln>
              <a:effectLst/>
            </c:spPr>
            <c:extLst>
              <c:ext xmlns:c16="http://schemas.microsoft.com/office/drawing/2014/chart" uri="{C3380CC4-5D6E-409C-BE32-E72D297353CC}">
                <c16:uniqueId val="{00000001-D9D4-47FF-8F1D-F95DD415C58E}"/>
              </c:ext>
            </c:extLst>
          </c:dPt>
          <c:dPt>
            <c:idx val="2"/>
            <c:invertIfNegative val="0"/>
            <c:bubble3D val="0"/>
            <c:spPr>
              <a:solidFill>
                <a:srgbClr val="009D9C"/>
              </a:solidFill>
              <a:ln>
                <a:noFill/>
              </a:ln>
              <a:effectLst/>
            </c:spPr>
            <c:extLst>
              <c:ext xmlns:c16="http://schemas.microsoft.com/office/drawing/2014/chart" uri="{C3380CC4-5D6E-409C-BE32-E72D297353CC}">
                <c16:uniqueId val="{00000003-CA4F-4293-AA3F-B207B19CE17E}"/>
              </c:ext>
            </c:extLst>
          </c:dPt>
          <c:dPt>
            <c:idx val="5"/>
            <c:invertIfNegative val="0"/>
            <c:bubble3D val="0"/>
            <c:spPr>
              <a:solidFill>
                <a:srgbClr val="009D9C"/>
              </a:solidFill>
              <a:ln>
                <a:noFill/>
              </a:ln>
              <a:effectLst/>
            </c:spPr>
            <c:extLst>
              <c:ext xmlns:c16="http://schemas.microsoft.com/office/drawing/2014/chart" uri="{C3380CC4-5D6E-409C-BE32-E72D297353CC}">
                <c16:uniqueId val="{00000005-D9D4-47FF-8F1D-F95DD415C58E}"/>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Vet ikke</c:v>
                </c:pt>
                <c:pt idx="1">
                  <c:v>Andre aktiviteter ved beredskapssenteret</c:v>
                </c:pt>
                <c:pt idx="2">
                  <c:v>Sirene</c:v>
                </c:pt>
                <c:pt idx="3">
                  <c:v>Eksplosjoner</c:v>
                </c:pt>
                <c:pt idx="4">
                  <c:v>Skytetrening</c:v>
                </c:pt>
                <c:pt idx="5">
                  <c:v>Helikopterflyving</c:v>
                </c:pt>
              </c:strCache>
            </c:strRef>
          </c:cat>
          <c:val>
            <c:numRef>
              <c:f>Sheet1!$B$2:$B$7</c:f>
              <c:numCache>
                <c:formatCode>General</c:formatCode>
                <c:ptCount val="6"/>
                <c:pt idx="0">
                  <c:v>8</c:v>
                </c:pt>
                <c:pt idx="1">
                  <c:v>45</c:v>
                </c:pt>
                <c:pt idx="2">
                  <c:v>27</c:v>
                </c:pt>
                <c:pt idx="3">
                  <c:v>31</c:v>
                </c:pt>
                <c:pt idx="4">
                  <c:v>35</c:v>
                </c:pt>
                <c:pt idx="5">
                  <c:v>70</c:v>
                </c:pt>
              </c:numCache>
            </c:numRef>
          </c:val>
          <c:extLst>
            <c:ext xmlns:c16="http://schemas.microsoft.com/office/drawing/2014/chart" uri="{C3380CC4-5D6E-409C-BE32-E72D297353CC}">
              <c16:uniqueId val="{00000006-D9D4-47FF-8F1D-F95DD415C58E}"/>
            </c:ext>
          </c:extLst>
        </c:ser>
        <c:dLbls>
          <c:showLegendKey val="0"/>
          <c:showVal val="0"/>
          <c:showCatName val="0"/>
          <c:showSerName val="0"/>
          <c:showPercent val="0"/>
          <c:showBubbleSize val="0"/>
        </c:dLbls>
        <c:gapWidth val="182"/>
        <c:overlap val="100"/>
        <c:axId val="676344616"/>
        <c:axId val="676344288"/>
      </c:barChart>
      <c:catAx>
        <c:axId val="6763446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676344288"/>
        <c:crosses val="autoZero"/>
        <c:auto val="1"/>
        <c:lblAlgn val="ctr"/>
        <c:lblOffset val="100"/>
        <c:noMultiLvlLbl val="0"/>
      </c:catAx>
      <c:valAx>
        <c:axId val="676344288"/>
        <c:scaling>
          <c:orientation val="minMax"/>
          <c:max val="60"/>
        </c:scaling>
        <c:delete val="1"/>
        <c:axPos val="b"/>
        <c:numFmt formatCode="#&quot;%&quot;" sourceLinked="0"/>
        <c:majorTickMark val="none"/>
        <c:minorTickMark val="none"/>
        <c:tickLblPos val="nextTo"/>
        <c:crossAx val="67634461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661811820953788E-2"/>
          <c:y val="7.553418803418803E-2"/>
          <c:w val="0.93166812068382365"/>
          <c:h val="0.4673301030337968"/>
        </c:manualLayout>
      </c:layout>
      <c:barChart>
        <c:barDir val="bar"/>
        <c:grouping val="percentStacked"/>
        <c:varyColors val="0"/>
        <c:ser>
          <c:idx val="3"/>
          <c:order val="0"/>
          <c:tx>
            <c:strRef>
              <c:f>Sheet1!$E$1</c:f>
              <c:strCache>
                <c:ptCount val="1"/>
                <c:pt idx="0">
                  <c:v>Høy grad</c:v>
                </c:pt>
              </c:strCache>
            </c:strRef>
          </c:tx>
          <c:spPr>
            <a:solidFill>
              <a:srgbClr val="00768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General</c:formatCode>
                <c:ptCount val="1"/>
                <c:pt idx="0">
                  <c:v>7</c:v>
                </c:pt>
              </c:numCache>
            </c:numRef>
          </c:val>
          <c:extLst>
            <c:ext xmlns:c16="http://schemas.microsoft.com/office/drawing/2014/chart" uri="{C3380CC4-5D6E-409C-BE32-E72D297353CC}">
              <c16:uniqueId val="{00000000-AC82-4244-9E74-D29910C8DDF9}"/>
            </c:ext>
          </c:extLst>
        </c:ser>
        <c:ser>
          <c:idx val="2"/>
          <c:order val="1"/>
          <c:tx>
            <c:strRef>
              <c:f>Sheet1!$D$1</c:f>
              <c:strCache>
                <c:ptCount val="1"/>
                <c:pt idx="0">
                  <c:v>Noen grad</c:v>
                </c:pt>
              </c:strCache>
            </c:strRef>
          </c:tx>
          <c:spPr>
            <a:solidFill>
              <a:srgbClr val="009D9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16</c:v>
                </c:pt>
              </c:numCache>
            </c:numRef>
          </c:val>
          <c:extLst>
            <c:ext xmlns:c16="http://schemas.microsoft.com/office/drawing/2014/chart" uri="{C3380CC4-5D6E-409C-BE32-E72D297353CC}">
              <c16:uniqueId val="{00000001-AC82-4244-9E74-D29910C8DDF9}"/>
            </c:ext>
          </c:extLst>
        </c:ser>
        <c:ser>
          <c:idx val="1"/>
          <c:order val="2"/>
          <c:tx>
            <c:strRef>
              <c:f>Sheet1!$C$1</c:f>
              <c:strCache>
                <c:ptCount val="1"/>
                <c:pt idx="0">
                  <c:v>Liten grad</c:v>
                </c:pt>
              </c:strCache>
            </c:strRef>
          </c:tx>
          <c:spPr>
            <a:solidFill>
              <a:srgbClr val="E6A28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17</c:v>
                </c:pt>
              </c:numCache>
            </c:numRef>
          </c:val>
          <c:extLst>
            <c:ext xmlns:c16="http://schemas.microsoft.com/office/drawing/2014/chart" uri="{C3380CC4-5D6E-409C-BE32-E72D297353CC}">
              <c16:uniqueId val="{00000002-AC82-4244-9E74-D29910C8DDF9}"/>
            </c:ext>
          </c:extLst>
        </c:ser>
        <c:ser>
          <c:idx val="0"/>
          <c:order val="3"/>
          <c:tx>
            <c:strRef>
              <c:f>Sheet1!$B$1</c:f>
              <c:strCache>
                <c:ptCount val="1"/>
                <c:pt idx="0">
                  <c:v>Ingen grad</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44</c:v>
                </c:pt>
              </c:numCache>
            </c:numRef>
          </c:val>
          <c:extLst>
            <c:ext xmlns:c16="http://schemas.microsoft.com/office/drawing/2014/chart" uri="{C3380CC4-5D6E-409C-BE32-E72D297353CC}">
              <c16:uniqueId val="{00000003-AC82-4244-9E74-D29910C8DDF9}"/>
            </c:ext>
          </c:extLst>
        </c:ser>
        <c:ser>
          <c:idx val="4"/>
          <c:order val="4"/>
          <c:tx>
            <c:strRef>
              <c:f>Sheet1!$F$1</c:f>
              <c:strCache>
                <c:ptCount val="1"/>
                <c:pt idx="0">
                  <c:v>Vet ikk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F$2</c:f>
              <c:numCache>
                <c:formatCode>General</c:formatCode>
                <c:ptCount val="1"/>
                <c:pt idx="0">
                  <c:v>15</c:v>
                </c:pt>
              </c:numCache>
            </c:numRef>
          </c:val>
          <c:extLst>
            <c:ext xmlns:c16="http://schemas.microsoft.com/office/drawing/2014/chart" uri="{C3380CC4-5D6E-409C-BE32-E72D297353CC}">
              <c16:uniqueId val="{00000004-AC82-4244-9E74-D29910C8DDF9}"/>
            </c:ext>
          </c:extLst>
        </c:ser>
        <c:dLbls>
          <c:dLblPos val="ctr"/>
          <c:showLegendKey val="0"/>
          <c:showVal val="1"/>
          <c:showCatName val="0"/>
          <c:showSerName val="0"/>
          <c:showPercent val="0"/>
          <c:showBubbleSize val="0"/>
        </c:dLbls>
        <c:gapWidth val="104"/>
        <c:overlap val="100"/>
        <c:axId val="419523816"/>
        <c:axId val="419528080"/>
      </c:barChart>
      <c:catAx>
        <c:axId val="419523816"/>
        <c:scaling>
          <c:orientation val="minMax"/>
        </c:scaling>
        <c:delete val="1"/>
        <c:axPos val="l"/>
        <c:numFmt formatCode="General" sourceLinked="1"/>
        <c:majorTickMark val="none"/>
        <c:minorTickMark val="none"/>
        <c:tickLblPos val="nextTo"/>
        <c:crossAx val="419528080"/>
        <c:crosses val="autoZero"/>
        <c:auto val="1"/>
        <c:lblAlgn val="ctr"/>
        <c:lblOffset val="100"/>
        <c:noMultiLvlLbl val="0"/>
      </c:catAx>
      <c:valAx>
        <c:axId val="419528080"/>
        <c:scaling>
          <c:orientation val="minMax"/>
        </c:scaling>
        <c:delete val="1"/>
        <c:axPos val="b"/>
        <c:numFmt formatCode="0%" sourceLinked="1"/>
        <c:majorTickMark val="none"/>
        <c:minorTickMark val="none"/>
        <c:tickLblPos val="nextTo"/>
        <c:crossAx val="419523816"/>
        <c:crosses val="autoZero"/>
        <c:crossBetween val="between"/>
        <c:majorUnit val="0.2"/>
      </c:valAx>
      <c:spPr>
        <a:noFill/>
        <a:ln>
          <a:noFill/>
        </a:ln>
        <a:effectLst/>
      </c:spPr>
    </c:plotArea>
    <c:legend>
      <c:legendPos val="b"/>
      <c:layout>
        <c:manualLayout>
          <c:xMode val="edge"/>
          <c:yMode val="edge"/>
          <c:x val="2.0301640177003654E-2"/>
          <c:y val="0.55060032560032557"/>
          <c:w val="0.94586233874430214"/>
          <c:h val="0.107875260979831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13462867200095"/>
          <c:y val="5.6500453163509705E-2"/>
          <c:w val="0.43502021630241033"/>
          <c:h val="0.86382454688322419"/>
        </c:manualLayout>
      </c:layout>
      <c:barChart>
        <c:barDir val="bar"/>
        <c:grouping val="stacked"/>
        <c:varyColors val="0"/>
        <c:ser>
          <c:idx val="0"/>
          <c:order val="0"/>
          <c:tx>
            <c:strRef>
              <c:f>Sheet1!$B$1</c:f>
              <c:strCache>
                <c:ptCount val="1"/>
                <c:pt idx="0">
                  <c:v>Series 1</c:v>
                </c:pt>
              </c:strCache>
            </c:strRef>
          </c:tx>
          <c:spPr>
            <a:solidFill>
              <a:srgbClr val="009D9C"/>
            </a:solidFill>
            <a:ln>
              <a:noFill/>
            </a:ln>
            <a:effectLst/>
          </c:spPr>
          <c:invertIfNegative val="0"/>
          <c:dPt>
            <c:idx val="3"/>
            <c:invertIfNegative val="0"/>
            <c:bubble3D val="0"/>
            <c:spPr>
              <a:solidFill>
                <a:srgbClr val="009D9C"/>
              </a:solidFill>
              <a:ln>
                <a:noFill/>
              </a:ln>
              <a:effectLst/>
            </c:spPr>
            <c:extLst>
              <c:ext xmlns:c16="http://schemas.microsoft.com/office/drawing/2014/chart" uri="{C3380CC4-5D6E-409C-BE32-E72D297353CC}">
                <c16:uniqueId val="{00000001-805D-4138-A5DD-B21F510C066D}"/>
              </c:ext>
            </c:extLst>
          </c:dPt>
          <c:dPt>
            <c:idx val="4"/>
            <c:invertIfNegative val="0"/>
            <c:bubble3D val="0"/>
            <c:spPr>
              <a:solidFill>
                <a:srgbClr val="009D9C"/>
              </a:solidFill>
              <a:ln>
                <a:noFill/>
              </a:ln>
              <a:effectLst/>
            </c:spPr>
            <c:extLst>
              <c:ext xmlns:c16="http://schemas.microsoft.com/office/drawing/2014/chart" uri="{C3380CC4-5D6E-409C-BE32-E72D297353CC}">
                <c16:uniqueId val="{00000003-CC2B-490A-AFEE-E6779DBB0F3C}"/>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Vet ikke</c:v>
                </c:pt>
                <c:pt idx="1">
                  <c:v>Annet</c:v>
                </c:pt>
                <c:pt idx="2">
                  <c:v>Kompenserende tiltak (f.eks. bygging av gapahuk, frilufsbro, støydempende tiltak for barnehage mv.)</c:v>
                </c:pt>
                <c:pt idx="3">
                  <c:v>Flere arbeidsplasser</c:v>
                </c:pt>
                <c:pt idx="4">
                  <c:v>Høyere beredskap i nærområdet</c:v>
                </c:pt>
              </c:strCache>
            </c:strRef>
          </c:cat>
          <c:val>
            <c:numRef>
              <c:f>Sheet1!$B$2:$B$6</c:f>
              <c:numCache>
                <c:formatCode>General</c:formatCode>
                <c:ptCount val="5"/>
                <c:pt idx="0">
                  <c:v>9</c:v>
                </c:pt>
                <c:pt idx="1">
                  <c:v>38</c:v>
                </c:pt>
                <c:pt idx="2">
                  <c:v>9</c:v>
                </c:pt>
                <c:pt idx="3">
                  <c:v>24</c:v>
                </c:pt>
                <c:pt idx="4">
                  <c:v>55</c:v>
                </c:pt>
              </c:numCache>
            </c:numRef>
          </c:val>
          <c:extLst>
            <c:ext xmlns:c16="http://schemas.microsoft.com/office/drawing/2014/chart" uri="{C3380CC4-5D6E-409C-BE32-E72D297353CC}">
              <c16:uniqueId val="{00000006-60E2-4418-8BA1-4FF3D73957A0}"/>
            </c:ext>
          </c:extLst>
        </c:ser>
        <c:dLbls>
          <c:showLegendKey val="0"/>
          <c:showVal val="0"/>
          <c:showCatName val="0"/>
          <c:showSerName val="0"/>
          <c:showPercent val="0"/>
          <c:showBubbleSize val="0"/>
        </c:dLbls>
        <c:gapWidth val="182"/>
        <c:overlap val="100"/>
        <c:axId val="676344616"/>
        <c:axId val="676344288"/>
      </c:barChart>
      <c:catAx>
        <c:axId val="6763446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676344288"/>
        <c:crosses val="autoZero"/>
        <c:auto val="1"/>
        <c:lblAlgn val="ctr"/>
        <c:lblOffset val="100"/>
        <c:noMultiLvlLbl val="0"/>
      </c:catAx>
      <c:valAx>
        <c:axId val="676344288"/>
        <c:scaling>
          <c:orientation val="minMax"/>
          <c:max val="60"/>
        </c:scaling>
        <c:delete val="1"/>
        <c:axPos val="b"/>
        <c:numFmt formatCode="#&quot;%&quot;" sourceLinked="0"/>
        <c:majorTickMark val="none"/>
        <c:minorTickMark val="none"/>
        <c:tickLblPos val="nextTo"/>
        <c:crossAx val="67634461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090166577756887E-2"/>
          <c:y val="5.8435709227665743E-2"/>
          <c:w val="0.93166812068382365"/>
          <c:h val="0.4673301030337968"/>
        </c:manualLayout>
      </c:layout>
      <c:barChart>
        <c:barDir val="bar"/>
        <c:grouping val="percentStacked"/>
        <c:varyColors val="0"/>
        <c:ser>
          <c:idx val="3"/>
          <c:order val="0"/>
          <c:tx>
            <c:strRef>
              <c:f>Sheet1!$E$1</c:f>
              <c:strCache>
                <c:ptCount val="1"/>
                <c:pt idx="0">
                  <c:v>Høy grad</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General</c:formatCode>
                <c:ptCount val="1"/>
                <c:pt idx="0">
                  <c:v>6</c:v>
                </c:pt>
              </c:numCache>
            </c:numRef>
          </c:val>
          <c:extLst>
            <c:ext xmlns:c16="http://schemas.microsoft.com/office/drawing/2014/chart" uri="{C3380CC4-5D6E-409C-BE32-E72D297353CC}">
              <c16:uniqueId val="{00000003-E9CE-413E-8418-4486C792EFBC}"/>
            </c:ext>
          </c:extLst>
        </c:ser>
        <c:ser>
          <c:idx val="2"/>
          <c:order val="1"/>
          <c:tx>
            <c:strRef>
              <c:f>Sheet1!$D$1</c:f>
              <c:strCache>
                <c:ptCount val="1"/>
                <c:pt idx="0">
                  <c:v>Noen grad</c:v>
                </c:pt>
              </c:strCache>
            </c:strRef>
          </c:tx>
          <c:spPr>
            <a:solidFill>
              <a:srgbClr val="E6A28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19</c:v>
                </c:pt>
              </c:numCache>
            </c:numRef>
          </c:val>
          <c:extLst>
            <c:ext xmlns:c16="http://schemas.microsoft.com/office/drawing/2014/chart" uri="{C3380CC4-5D6E-409C-BE32-E72D297353CC}">
              <c16:uniqueId val="{00000002-E9CE-413E-8418-4486C792EFBC}"/>
            </c:ext>
          </c:extLst>
        </c:ser>
        <c:ser>
          <c:idx val="1"/>
          <c:order val="2"/>
          <c:tx>
            <c:strRef>
              <c:f>Sheet1!$C$1</c:f>
              <c:strCache>
                <c:ptCount val="1"/>
                <c:pt idx="0">
                  <c:v>Liten grad</c:v>
                </c:pt>
              </c:strCache>
            </c:strRef>
          </c:tx>
          <c:spPr>
            <a:solidFill>
              <a:schemeClr val="tx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20</c:v>
                </c:pt>
              </c:numCache>
            </c:numRef>
          </c:val>
          <c:extLst>
            <c:ext xmlns:c16="http://schemas.microsoft.com/office/drawing/2014/chart" uri="{C3380CC4-5D6E-409C-BE32-E72D297353CC}">
              <c16:uniqueId val="{00000001-E9CE-413E-8418-4486C792EFBC}"/>
            </c:ext>
          </c:extLst>
        </c:ser>
        <c:ser>
          <c:idx val="0"/>
          <c:order val="3"/>
          <c:tx>
            <c:strRef>
              <c:f>Sheet1!$B$1</c:f>
              <c:strCache>
                <c:ptCount val="1"/>
                <c:pt idx="0">
                  <c:v>Ingen grad</c:v>
                </c:pt>
              </c:strCache>
            </c:strRef>
          </c:tx>
          <c:spPr>
            <a:solidFill>
              <a:srgbClr val="00768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49</c:v>
                </c:pt>
              </c:numCache>
            </c:numRef>
          </c:val>
          <c:extLst>
            <c:ext xmlns:c16="http://schemas.microsoft.com/office/drawing/2014/chart" uri="{C3380CC4-5D6E-409C-BE32-E72D297353CC}">
              <c16:uniqueId val="{00000000-E9CE-413E-8418-4486C792EFBC}"/>
            </c:ext>
          </c:extLst>
        </c:ser>
        <c:ser>
          <c:idx val="4"/>
          <c:order val="4"/>
          <c:tx>
            <c:strRef>
              <c:f>Sheet1!$F$1</c:f>
              <c:strCache>
                <c:ptCount val="1"/>
                <c:pt idx="0">
                  <c:v>Vet ikk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F$2</c:f>
              <c:numCache>
                <c:formatCode>General</c:formatCode>
                <c:ptCount val="1"/>
                <c:pt idx="0">
                  <c:v>6</c:v>
                </c:pt>
              </c:numCache>
            </c:numRef>
          </c:val>
          <c:extLst>
            <c:ext xmlns:c16="http://schemas.microsoft.com/office/drawing/2014/chart" uri="{C3380CC4-5D6E-409C-BE32-E72D297353CC}">
              <c16:uniqueId val="{00000004-E9CE-413E-8418-4486C792EFBC}"/>
            </c:ext>
          </c:extLst>
        </c:ser>
        <c:dLbls>
          <c:dLblPos val="ctr"/>
          <c:showLegendKey val="0"/>
          <c:showVal val="1"/>
          <c:showCatName val="0"/>
          <c:showSerName val="0"/>
          <c:showPercent val="0"/>
          <c:showBubbleSize val="0"/>
        </c:dLbls>
        <c:gapWidth val="104"/>
        <c:overlap val="100"/>
        <c:axId val="419523816"/>
        <c:axId val="419528080"/>
      </c:barChart>
      <c:catAx>
        <c:axId val="419523816"/>
        <c:scaling>
          <c:orientation val="minMax"/>
        </c:scaling>
        <c:delete val="1"/>
        <c:axPos val="l"/>
        <c:numFmt formatCode="General" sourceLinked="1"/>
        <c:majorTickMark val="none"/>
        <c:minorTickMark val="none"/>
        <c:tickLblPos val="nextTo"/>
        <c:crossAx val="419528080"/>
        <c:crosses val="autoZero"/>
        <c:auto val="1"/>
        <c:lblAlgn val="ctr"/>
        <c:lblOffset val="100"/>
        <c:noMultiLvlLbl val="0"/>
      </c:catAx>
      <c:valAx>
        <c:axId val="419528080"/>
        <c:scaling>
          <c:orientation val="minMax"/>
        </c:scaling>
        <c:delete val="1"/>
        <c:axPos val="b"/>
        <c:numFmt formatCode="0%" sourceLinked="1"/>
        <c:majorTickMark val="none"/>
        <c:minorTickMark val="none"/>
        <c:tickLblPos val="nextTo"/>
        <c:crossAx val="419523816"/>
        <c:crosses val="autoZero"/>
        <c:crossBetween val="between"/>
        <c:majorUnit val="0.2"/>
      </c:valAx>
      <c:spPr>
        <a:noFill/>
        <a:ln>
          <a:noFill/>
        </a:ln>
        <a:effectLst/>
      </c:spPr>
    </c:plotArea>
    <c:legend>
      <c:legendPos val="b"/>
      <c:layout>
        <c:manualLayout>
          <c:xMode val="edge"/>
          <c:yMode val="edge"/>
          <c:x val="2.0301633397160838E-2"/>
          <c:y val="0.60170909269389317"/>
          <c:w val="0.94586233874430214"/>
          <c:h val="0.107875260979831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13462867200095"/>
          <c:y val="0.12256673294283146"/>
          <c:w val="0.24440824572732664"/>
          <c:h val="0.75603234481274473"/>
        </c:manualLayout>
      </c:layout>
      <c:barChart>
        <c:barDir val="bar"/>
        <c:grouping val="stacked"/>
        <c:varyColors val="0"/>
        <c:ser>
          <c:idx val="0"/>
          <c:order val="0"/>
          <c:tx>
            <c:strRef>
              <c:f>Sheet1!$B$1</c:f>
              <c:strCache>
                <c:ptCount val="1"/>
                <c:pt idx="0">
                  <c:v>Series 1</c:v>
                </c:pt>
              </c:strCache>
            </c:strRef>
          </c:tx>
          <c:spPr>
            <a:solidFill>
              <a:srgbClr val="009D9C"/>
            </a:solidFill>
            <a:ln>
              <a:noFill/>
            </a:ln>
            <a:effectLst/>
          </c:spPr>
          <c:invertIfNegative val="0"/>
          <c:dPt>
            <c:idx val="1"/>
            <c:invertIfNegative val="0"/>
            <c:bubble3D val="0"/>
            <c:spPr>
              <a:solidFill>
                <a:srgbClr val="009D9C"/>
              </a:solidFill>
              <a:ln>
                <a:noFill/>
              </a:ln>
              <a:effectLst/>
            </c:spPr>
            <c:extLst>
              <c:ext xmlns:c16="http://schemas.microsoft.com/office/drawing/2014/chart" uri="{C3380CC4-5D6E-409C-BE32-E72D297353CC}">
                <c16:uniqueId val="{00000001-2E8F-4EE2-81FC-2E98DFB35CA4}"/>
              </c:ext>
            </c:extLst>
          </c:dPt>
          <c:dPt>
            <c:idx val="4"/>
            <c:invertIfNegative val="0"/>
            <c:bubble3D val="0"/>
            <c:spPr>
              <a:solidFill>
                <a:srgbClr val="009D9C"/>
              </a:solidFill>
              <a:ln>
                <a:noFill/>
              </a:ln>
              <a:effectLst/>
            </c:spPr>
            <c:extLst>
              <c:ext xmlns:c16="http://schemas.microsoft.com/office/drawing/2014/chart" uri="{C3380CC4-5D6E-409C-BE32-E72D297353CC}">
                <c16:uniqueId val="{00000003-3CEF-416D-814C-42E354B4E97A}"/>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Vet ikke</c:v>
                </c:pt>
                <c:pt idx="1">
                  <c:v>Annet</c:v>
                </c:pt>
                <c:pt idx="2">
                  <c:v>Økt usikkerhet/mindre trygghetsfølelse</c:v>
                </c:pt>
                <c:pt idx="3">
                  <c:v>Fjerning av turområder</c:v>
                </c:pt>
                <c:pt idx="4">
                  <c:v>Mer helikoptertrafikk</c:v>
                </c:pt>
                <c:pt idx="5">
                  <c:v>Økt lyd, støy i lokalområdet</c:v>
                </c:pt>
              </c:strCache>
            </c:strRef>
          </c:cat>
          <c:val>
            <c:numRef>
              <c:f>Sheet1!$B$2:$B$7</c:f>
              <c:numCache>
                <c:formatCode>General</c:formatCode>
                <c:ptCount val="6"/>
                <c:pt idx="0" formatCode="0">
                  <c:v>2</c:v>
                </c:pt>
                <c:pt idx="1">
                  <c:v>18</c:v>
                </c:pt>
                <c:pt idx="2">
                  <c:v>10</c:v>
                </c:pt>
                <c:pt idx="3">
                  <c:v>14</c:v>
                </c:pt>
                <c:pt idx="4">
                  <c:v>43</c:v>
                </c:pt>
                <c:pt idx="5">
                  <c:v>68</c:v>
                </c:pt>
              </c:numCache>
            </c:numRef>
          </c:val>
          <c:extLst>
            <c:ext xmlns:c16="http://schemas.microsoft.com/office/drawing/2014/chart" uri="{C3380CC4-5D6E-409C-BE32-E72D297353CC}">
              <c16:uniqueId val="{00000004-3CEF-416D-814C-42E354B4E97A}"/>
            </c:ext>
          </c:extLst>
        </c:ser>
        <c:dLbls>
          <c:showLegendKey val="0"/>
          <c:showVal val="1"/>
          <c:showCatName val="0"/>
          <c:showSerName val="0"/>
          <c:showPercent val="0"/>
          <c:showBubbleSize val="0"/>
        </c:dLbls>
        <c:gapWidth val="182"/>
        <c:overlap val="100"/>
        <c:axId val="676344616"/>
        <c:axId val="676344288"/>
      </c:barChart>
      <c:catAx>
        <c:axId val="6763446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676344288"/>
        <c:crosses val="autoZero"/>
        <c:auto val="1"/>
        <c:lblAlgn val="ctr"/>
        <c:lblOffset val="100"/>
        <c:noMultiLvlLbl val="0"/>
      </c:catAx>
      <c:valAx>
        <c:axId val="676344288"/>
        <c:scaling>
          <c:orientation val="minMax"/>
          <c:max val="60"/>
        </c:scaling>
        <c:delete val="1"/>
        <c:axPos val="b"/>
        <c:numFmt formatCode="#&quot;%&quot;" sourceLinked="0"/>
        <c:majorTickMark val="none"/>
        <c:minorTickMark val="none"/>
        <c:tickLblPos val="nextTo"/>
        <c:crossAx val="67634461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322169487670799E-2"/>
          <c:y val="7.3777461270951195E-2"/>
          <c:w val="0.91535566102465804"/>
          <c:h val="0.66117145689170898"/>
        </c:manualLayout>
      </c:layout>
      <c:doughnutChart>
        <c:varyColors val="1"/>
        <c:ser>
          <c:idx val="0"/>
          <c:order val="0"/>
          <c:tx>
            <c:strRef>
              <c:f>Sheet1!$B$1</c:f>
              <c:strCache>
                <c:ptCount val="1"/>
                <c:pt idx="0">
                  <c:v>Column1</c:v>
                </c:pt>
              </c:strCache>
            </c:strRef>
          </c:tx>
          <c:spPr>
            <a:ln>
              <a:noFill/>
            </a:ln>
          </c:spPr>
          <c:dPt>
            <c:idx val="0"/>
            <c:bubble3D val="0"/>
            <c:spPr>
              <a:solidFill>
                <a:schemeClr val="tx2"/>
              </a:solidFill>
              <a:ln>
                <a:noFill/>
              </a:ln>
            </c:spPr>
            <c:extLst>
              <c:ext xmlns:c16="http://schemas.microsoft.com/office/drawing/2014/chart" uri="{C3380CC4-5D6E-409C-BE32-E72D297353CC}">
                <c16:uniqueId val="{00000001-DD08-4B98-BAD8-BFAAB21BE97D}"/>
              </c:ext>
            </c:extLst>
          </c:dPt>
          <c:dPt>
            <c:idx val="1"/>
            <c:bubble3D val="0"/>
            <c:spPr>
              <a:solidFill>
                <a:schemeClr val="tx1">
                  <a:lumMod val="10000"/>
                  <a:lumOff val="90000"/>
                </a:schemeClr>
              </a:solidFill>
              <a:ln>
                <a:noFill/>
              </a:ln>
            </c:spPr>
            <c:extLst>
              <c:ext xmlns:c16="http://schemas.microsoft.com/office/drawing/2014/chart" uri="{C3380CC4-5D6E-409C-BE32-E72D297353CC}">
                <c16:uniqueId val="{00000003-DD08-4B98-BAD8-BFAAB21BE97D}"/>
              </c:ext>
            </c:extLst>
          </c:dPt>
          <c:dLbls>
            <c:delete val="1"/>
          </c:dLbls>
          <c:cat>
            <c:numRef>
              <c:f>Sheet1!$A$2:$A$3</c:f>
              <c:numCache>
                <c:formatCode>General</c:formatCode>
                <c:ptCount val="2"/>
              </c:numCache>
            </c:numRef>
          </c:cat>
          <c:val>
            <c:numRef>
              <c:f>Sheet1!$B$2:$B$3</c:f>
              <c:numCache>
                <c:formatCode>General</c:formatCode>
                <c:ptCount val="2"/>
                <c:pt idx="0">
                  <c:v>28</c:v>
                </c:pt>
                <c:pt idx="1">
                  <c:v>72</c:v>
                </c:pt>
              </c:numCache>
            </c:numRef>
          </c:val>
          <c:extLst>
            <c:ext xmlns:c16="http://schemas.microsoft.com/office/drawing/2014/chart" uri="{C3380CC4-5D6E-409C-BE32-E72D297353CC}">
              <c16:uniqueId val="{00000004-DD08-4B98-BAD8-BFAAB21BE97D}"/>
            </c:ext>
          </c:extLst>
        </c:ser>
        <c:dLbls>
          <c:showLegendKey val="0"/>
          <c:showVal val="1"/>
          <c:showCatName val="0"/>
          <c:showSerName val="0"/>
          <c:showPercent val="0"/>
          <c:showBubbleSize val="0"/>
          <c:showLeaderLines val="1"/>
        </c:dLbls>
        <c:firstSliceAng val="0"/>
        <c:holeSize val="80"/>
      </c:doughnutChart>
    </c:plotArea>
    <c:plotVisOnly val="1"/>
    <c:dispBlanksAs val="zero"/>
    <c:showDLblsOverMax val="0"/>
  </c:chart>
  <c:txPr>
    <a:bodyPr/>
    <a:lstStyle/>
    <a:p>
      <a:pPr>
        <a:defRPr sz="1800"/>
      </a:pPr>
      <a:endParaRPr lang="nb-NO"/>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265062900658948E-2"/>
          <c:y val="6.540382885848689E-2"/>
          <c:w val="0.93166812068382365"/>
          <c:h val="0.4673301030337968"/>
        </c:manualLayout>
      </c:layout>
      <c:barChart>
        <c:barDir val="bar"/>
        <c:grouping val="percentStacked"/>
        <c:varyColors val="0"/>
        <c:ser>
          <c:idx val="0"/>
          <c:order val="0"/>
          <c:tx>
            <c:strRef>
              <c:f>Sheet1!$B$1</c:f>
              <c:strCache>
                <c:ptCount val="1"/>
                <c:pt idx="0">
                  <c:v>Ingen grad</c:v>
                </c:pt>
              </c:strCache>
            </c:strRef>
          </c:tx>
          <c:spPr>
            <a:solidFill>
              <a:srgbClr val="00768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17</c:v>
                </c:pt>
              </c:numCache>
            </c:numRef>
          </c:val>
          <c:extLst>
            <c:ext xmlns:c16="http://schemas.microsoft.com/office/drawing/2014/chart" uri="{C3380CC4-5D6E-409C-BE32-E72D297353CC}">
              <c16:uniqueId val="{00000000-719D-4C56-B14F-FD9A51979493}"/>
            </c:ext>
          </c:extLst>
        </c:ser>
        <c:ser>
          <c:idx val="1"/>
          <c:order val="1"/>
          <c:tx>
            <c:strRef>
              <c:f>Sheet1!$C$1</c:f>
              <c:strCache>
                <c:ptCount val="1"/>
                <c:pt idx="0">
                  <c:v>Liten grad</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26</c:v>
                </c:pt>
              </c:numCache>
            </c:numRef>
          </c:val>
          <c:extLst>
            <c:ext xmlns:c16="http://schemas.microsoft.com/office/drawing/2014/chart" uri="{C3380CC4-5D6E-409C-BE32-E72D297353CC}">
              <c16:uniqueId val="{00000001-719D-4C56-B14F-FD9A51979493}"/>
            </c:ext>
          </c:extLst>
        </c:ser>
        <c:ser>
          <c:idx val="2"/>
          <c:order val="2"/>
          <c:tx>
            <c:strRef>
              <c:f>Sheet1!$D$1</c:f>
              <c:strCache>
                <c:ptCount val="1"/>
                <c:pt idx="0">
                  <c:v>Noen grad</c:v>
                </c:pt>
              </c:strCache>
            </c:strRef>
          </c:tx>
          <c:spPr>
            <a:solidFill>
              <a:srgbClr val="F28E8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34</c:v>
                </c:pt>
              </c:numCache>
            </c:numRef>
          </c:val>
          <c:extLst>
            <c:ext xmlns:c16="http://schemas.microsoft.com/office/drawing/2014/chart" uri="{C3380CC4-5D6E-409C-BE32-E72D297353CC}">
              <c16:uniqueId val="{00000002-719D-4C56-B14F-FD9A51979493}"/>
            </c:ext>
          </c:extLst>
        </c:ser>
        <c:ser>
          <c:idx val="3"/>
          <c:order val="3"/>
          <c:tx>
            <c:strRef>
              <c:f>Sheet1!$E$1</c:f>
              <c:strCache>
                <c:ptCount val="1"/>
                <c:pt idx="0">
                  <c:v>Høy grad</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General</c:formatCode>
                <c:ptCount val="1"/>
                <c:pt idx="0">
                  <c:v>20</c:v>
                </c:pt>
              </c:numCache>
            </c:numRef>
          </c:val>
          <c:extLst>
            <c:ext xmlns:c16="http://schemas.microsoft.com/office/drawing/2014/chart" uri="{C3380CC4-5D6E-409C-BE32-E72D297353CC}">
              <c16:uniqueId val="{00000003-719D-4C56-B14F-FD9A51979493}"/>
            </c:ext>
          </c:extLst>
        </c:ser>
        <c:ser>
          <c:idx val="4"/>
          <c:order val="4"/>
          <c:tx>
            <c:strRef>
              <c:f>Sheet1!$F$1</c:f>
              <c:strCache>
                <c:ptCount val="1"/>
                <c:pt idx="0">
                  <c:v>Vet ikk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F$2</c:f>
              <c:numCache>
                <c:formatCode>General</c:formatCode>
                <c:ptCount val="1"/>
                <c:pt idx="0">
                  <c:v>4</c:v>
                </c:pt>
              </c:numCache>
            </c:numRef>
          </c:val>
          <c:extLst>
            <c:ext xmlns:c16="http://schemas.microsoft.com/office/drawing/2014/chart" uri="{C3380CC4-5D6E-409C-BE32-E72D297353CC}">
              <c16:uniqueId val="{00000004-719D-4C56-B14F-FD9A51979493}"/>
            </c:ext>
          </c:extLst>
        </c:ser>
        <c:dLbls>
          <c:dLblPos val="ctr"/>
          <c:showLegendKey val="0"/>
          <c:showVal val="1"/>
          <c:showCatName val="0"/>
          <c:showSerName val="0"/>
          <c:showPercent val="0"/>
          <c:showBubbleSize val="0"/>
        </c:dLbls>
        <c:gapWidth val="104"/>
        <c:overlap val="100"/>
        <c:axId val="419523816"/>
        <c:axId val="419528080"/>
      </c:barChart>
      <c:catAx>
        <c:axId val="419523816"/>
        <c:scaling>
          <c:orientation val="minMax"/>
        </c:scaling>
        <c:delete val="1"/>
        <c:axPos val="l"/>
        <c:numFmt formatCode="General" sourceLinked="1"/>
        <c:majorTickMark val="none"/>
        <c:minorTickMark val="none"/>
        <c:tickLblPos val="nextTo"/>
        <c:crossAx val="419528080"/>
        <c:crosses val="autoZero"/>
        <c:auto val="1"/>
        <c:lblAlgn val="ctr"/>
        <c:lblOffset val="100"/>
        <c:noMultiLvlLbl val="0"/>
      </c:catAx>
      <c:valAx>
        <c:axId val="419528080"/>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b-NO"/>
          </a:p>
        </c:txPr>
        <c:crossAx val="419523816"/>
        <c:crosses val="autoZero"/>
        <c:crossBetween val="between"/>
        <c:majorUnit val="0.2"/>
      </c:valAx>
      <c:spPr>
        <a:noFill/>
        <a:ln>
          <a:noFill/>
        </a:ln>
        <a:effectLst/>
      </c:spPr>
    </c:plotArea>
    <c:legend>
      <c:legendPos val="b"/>
      <c:layout>
        <c:manualLayout>
          <c:xMode val="edge"/>
          <c:yMode val="edge"/>
          <c:x val="2.0301619146915945E-2"/>
          <c:y val="0.81689038564089345"/>
          <c:w val="0.95172802270609613"/>
          <c:h val="0.107875260979831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322169487670799E-2"/>
          <c:y val="7.3777461270951195E-2"/>
          <c:w val="0.91535566102465804"/>
          <c:h val="0.66117145689170898"/>
        </c:manualLayout>
      </c:layout>
      <c:doughnutChart>
        <c:varyColors val="1"/>
        <c:ser>
          <c:idx val="0"/>
          <c:order val="0"/>
          <c:tx>
            <c:strRef>
              <c:f>Sheet1!$B$1</c:f>
              <c:strCache>
                <c:ptCount val="1"/>
                <c:pt idx="0">
                  <c:v>Column1</c:v>
                </c:pt>
              </c:strCache>
            </c:strRef>
          </c:tx>
          <c:spPr>
            <a:ln>
              <a:noFill/>
            </a:ln>
          </c:spPr>
          <c:dPt>
            <c:idx val="0"/>
            <c:bubble3D val="0"/>
            <c:spPr>
              <a:solidFill>
                <a:srgbClr val="0097CC"/>
              </a:solidFill>
              <a:ln>
                <a:noFill/>
              </a:ln>
            </c:spPr>
            <c:extLst>
              <c:ext xmlns:c16="http://schemas.microsoft.com/office/drawing/2014/chart" uri="{C3380CC4-5D6E-409C-BE32-E72D297353CC}">
                <c16:uniqueId val="{00000001-821A-4797-AF45-B6311D72736F}"/>
              </c:ext>
            </c:extLst>
          </c:dPt>
          <c:dPt>
            <c:idx val="1"/>
            <c:bubble3D val="0"/>
            <c:spPr>
              <a:solidFill>
                <a:schemeClr val="tx1">
                  <a:lumMod val="10000"/>
                  <a:lumOff val="90000"/>
                </a:schemeClr>
              </a:solidFill>
              <a:ln>
                <a:noFill/>
              </a:ln>
            </c:spPr>
            <c:extLst>
              <c:ext xmlns:c16="http://schemas.microsoft.com/office/drawing/2014/chart" uri="{C3380CC4-5D6E-409C-BE32-E72D297353CC}">
                <c16:uniqueId val="{00000003-821A-4797-AF45-B6311D72736F}"/>
              </c:ext>
            </c:extLst>
          </c:dPt>
          <c:dLbls>
            <c:delete val="1"/>
          </c:dLbls>
          <c:cat>
            <c:numRef>
              <c:f>Sheet1!$A$2:$A$3</c:f>
              <c:numCache>
                <c:formatCode>General</c:formatCode>
                <c:ptCount val="2"/>
              </c:numCache>
            </c:numRef>
          </c:cat>
          <c:val>
            <c:numRef>
              <c:f>Sheet1!$B$2:$B$3</c:f>
              <c:numCache>
                <c:formatCode>General</c:formatCode>
                <c:ptCount val="2"/>
                <c:pt idx="0">
                  <c:v>17</c:v>
                </c:pt>
                <c:pt idx="1">
                  <c:v>83</c:v>
                </c:pt>
              </c:numCache>
            </c:numRef>
          </c:val>
          <c:extLst>
            <c:ext xmlns:c16="http://schemas.microsoft.com/office/drawing/2014/chart" uri="{C3380CC4-5D6E-409C-BE32-E72D297353CC}">
              <c16:uniqueId val="{00000004-821A-4797-AF45-B6311D72736F}"/>
            </c:ext>
          </c:extLst>
        </c:ser>
        <c:dLbls>
          <c:showLegendKey val="0"/>
          <c:showVal val="1"/>
          <c:showCatName val="0"/>
          <c:showSerName val="0"/>
          <c:showPercent val="0"/>
          <c:showBubbleSize val="0"/>
          <c:showLeaderLines val="1"/>
        </c:dLbls>
        <c:firstSliceAng val="275"/>
        <c:holeSize val="80"/>
      </c:doughnutChart>
    </c:plotArea>
    <c:plotVisOnly val="1"/>
    <c:dispBlanksAs val="zero"/>
    <c:showDLblsOverMax val="0"/>
  </c:chart>
  <c:txPr>
    <a:bodyPr/>
    <a:lstStyle/>
    <a:p>
      <a:pPr>
        <a:defRPr sz="1800"/>
      </a:pPr>
      <a:endParaRPr lang="nb-NO"/>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755097789199678"/>
          <c:y val="0"/>
          <c:w val="0.64844711936783306"/>
          <c:h val="0.76525010070598198"/>
        </c:manualLayout>
      </c:layout>
      <c:doughnutChart>
        <c:varyColors val="1"/>
        <c:ser>
          <c:idx val="0"/>
          <c:order val="0"/>
          <c:tx>
            <c:strRef>
              <c:f>Sheet1!$B$1</c:f>
              <c:strCache>
                <c:ptCount val="1"/>
                <c:pt idx="0">
                  <c:v>Column1</c:v>
                </c:pt>
              </c:strCache>
            </c:strRef>
          </c:tx>
          <c:spPr>
            <a:ln>
              <a:noFill/>
            </a:ln>
          </c:spPr>
          <c:dPt>
            <c:idx val="0"/>
            <c:bubble3D val="0"/>
            <c:spPr>
              <a:solidFill>
                <a:srgbClr val="2F469C"/>
              </a:solidFill>
              <a:ln>
                <a:noFill/>
              </a:ln>
            </c:spPr>
            <c:extLst>
              <c:ext xmlns:c16="http://schemas.microsoft.com/office/drawing/2014/chart" uri="{C3380CC4-5D6E-409C-BE32-E72D297353CC}">
                <c16:uniqueId val="{00000001-F70B-4454-9B0E-995B9BBDCFC7}"/>
              </c:ext>
            </c:extLst>
          </c:dPt>
          <c:dPt>
            <c:idx val="1"/>
            <c:bubble3D val="0"/>
            <c:spPr>
              <a:solidFill>
                <a:schemeClr val="tx1">
                  <a:lumMod val="10000"/>
                  <a:lumOff val="90000"/>
                </a:schemeClr>
              </a:solidFill>
              <a:ln>
                <a:noFill/>
              </a:ln>
            </c:spPr>
            <c:extLst>
              <c:ext xmlns:c16="http://schemas.microsoft.com/office/drawing/2014/chart" uri="{C3380CC4-5D6E-409C-BE32-E72D297353CC}">
                <c16:uniqueId val="{00000003-F70B-4454-9B0E-995B9BBDCFC7}"/>
              </c:ext>
            </c:extLst>
          </c:dPt>
          <c:dLbls>
            <c:delete val="1"/>
          </c:dLbls>
          <c:cat>
            <c:numRef>
              <c:f>Sheet1!$A$2:$A$3</c:f>
              <c:numCache>
                <c:formatCode>General</c:formatCode>
                <c:ptCount val="2"/>
              </c:numCache>
            </c:num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F70B-4454-9B0E-995B9BBDCFC7}"/>
            </c:ext>
          </c:extLst>
        </c:ser>
        <c:dLbls>
          <c:showLegendKey val="0"/>
          <c:showVal val="1"/>
          <c:showCatName val="0"/>
          <c:showSerName val="0"/>
          <c:showPercent val="0"/>
          <c:showBubbleSize val="0"/>
          <c:showLeaderLines val="1"/>
        </c:dLbls>
        <c:firstSliceAng val="155"/>
        <c:holeSize val="80"/>
      </c:doughnutChart>
    </c:plotArea>
    <c:plotVisOnly val="1"/>
    <c:dispBlanksAs val="zero"/>
    <c:showDLblsOverMax val="0"/>
  </c:chart>
  <c:txPr>
    <a:bodyPr/>
    <a:lstStyle/>
    <a:p>
      <a:pPr>
        <a:defRPr sz="1800"/>
      </a:pPr>
      <a:endParaRPr lang="nb-NO"/>
    </a:p>
  </c:txPr>
  <c:externalData r:id="rId1">
    <c:autoUpdate val="0"/>
  </c:externalData>
  <c:userShapes r:id="rId2"/>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322169487670799E-2"/>
          <c:y val="7.3777461270951195E-2"/>
          <c:w val="0.91535566102465804"/>
          <c:h val="0.66117145689170898"/>
        </c:manualLayout>
      </c:layout>
      <c:doughnutChart>
        <c:varyColors val="1"/>
        <c:ser>
          <c:idx val="0"/>
          <c:order val="0"/>
          <c:tx>
            <c:strRef>
              <c:f>Sheet1!$B$1</c:f>
              <c:strCache>
                <c:ptCount val="1"/>
                <c:pt idx="0">
                  <c:v>Column1</c:v>
                </c:pt>
              </c:strCache>
            </c:strRef>
          </c:tx>
          <c:spPr>
            <a:ln>
              <a:noFill/>
            </a:ln>
          </c:spPr>
          <c:dPt>
            <c:idx val="0"/>
            <c:bubble3D val="0"/>
            <c:spPr>
              <a:solidFill>
                <a:srgbClr val="E6A28E"/>
              </a:solidFill>
              <a:ln>
                <a:noFill/>
              </a:ln>
            </c:spPr>
            <c:extLst>
              <c:ext xmlns:c16="http://schemas.microsoft.com/office/drawing/2014/chart" uri="{C3380CC4-5D6E-409C-BE32-E72D297353CC}">
                <c16:uniqueId val="{00000001-3AF3-4F79-8320-FEBA70052CB8}"/>
              </c:ext>
            </c:extLst>
          </c:dPt>
          <c:dPt>
            <c:idx val="1"/>
            <c:bubble3D val="0"/>
            <c:spPr>
              <a:solidFill>
                <a:schemeClr val="tx1">
                  <a:lumMod val="10000"/>
                  <a:lumOff val="90000"/>
                </a:schemeClr>
              </a:solidFill>
              <a:ln>
                <a:noFill/>
              </a:ln>
            </c:spPr>
            <c:extLst>
              <c:ext xmlns:c16="http://schemas.microsoft.com/office/drawing/2014/chart" uri="{C3380CC4-5D6E-409C-BE32-E72D297353CC}">
                <c16:uniqueId val="{00000003-3AF3-4F79-8320-FEBA70052CB8}"/>
              </c:ext>
            </c:extLst>
          </c:dPt>
          <c:dLbls>
            <c:delete val="1"/>
          </c:dLbls>
          <c:cat>
            <c:numRef>
              <c:f>Sheet1!$A$2:$A$3</c:f>
              <c:numCache>
                <c:formatCode>General</c:formatCode>
                <c:ptCount val="2"/>
              </c:numCache>
            </c:numRef>
          </c:cat>
          <c:val>
            <c:numRef>
              <c:f>Sheet1!$B$2:$B$3</c:f>
              <c:numCache>
                <c:formatCode>General</c:formatCode>
                <c:ptCount val="2"/>
                <c:pt idx="0">
                  <c:v>18</c:v>
                </c:pt>
                <c:pt idx="1">
                  <c:v>82</c:v>
                </c:pt>
              </c:numCache>
            </c:numRef>
          </c:val>
          <c:extLst>
            <c:ext xmlns:c16="http://schemas.microsoft.com/office/drawing/2014/chart" uri="{C3380CC4-5D6E-409C-BE32-E72D297353CC}">
              <c16:uniqueId val="{00000004-3AF3-4F79-8320-FEBA70052CB8}"/>
            </c:ext>
          </c:extLst>
        </c:ser>
        <c:dLbls>
          <c:showLegendKey val="0"/>
          <c:showVal val="1"/>
          <c:showCatName val="0"/>
          <c:showSerName val="0"/>
          <c:showPercent val="0"/>
          <c:showBubbleSize val="0"/>
          <c:showLeaderLines val="1"/>
        </c:dLbls>
        <c:firstSliceAng val="275"/>
        <c:holeSize val="80"/>
      </c:doughnutChart>
    </c:plotArea>
    <c:plotVisOnly val="1"/>
    <c:dispBlanksAs val="zero"/>
    <c:showDLblsOverMax val="0"/>
  </c:chart>
  <c:txPr>
    <a:bodyPr/>
    <a:lstStyle/>
    <a:p>
      <a:pPr>
        <a:defRPr sz="1800"/>
      </a:pPr>
      <a:endParaRPr lang="nb-NO"/>
    </a:p>
  </c:txPr>
  <c:externalData r:id="rId1">
    <c:autoUpdate val="0"/>
  </c:externalData>
  <c:userShapes r:id="rId2"/>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755097789199678"/>
          <c:y val="0"/>
          <c:w val="0.64844711936783306"/>
          <c:h val="0.76525010070598198"/>
        </c:manualLayout>
      </c:layout>
      <c:doughnutChart>
        <c:varyColors val="1"/>
        <c:ser>
          <c:idx val="0"/>
          <c:order val="0"/>
          <c:tx>
            <c:strRef>
              <c:f>Sheet1!$B$1</c:f>
              <c:strCache>
                <c:ptCount val="1"/>
                <c:pt idx="0">
                  <c:v>Column1</c:v>
                </c:pt>
              </c:strCache>
            </c:strRef>
          </c:tx>
          <c:spPr>
            <a:ln>
              <a:noFill/>
            </a:ln>
          </c:spPr>
          <c:dPt>
            <c:idx val="0"/>
            <c:bubble3D val="0"/>
            <c:spPr>
              <a:solidFill>
                <a:schemeClr val="tx2">
                  <a:lumMod val="50000"/>
                </a:schemeClr>
              </a:solidFill>
              <a:ln>
                <a:noFill/>
              </a:ln>
            </c:spPr>
            <c:extLst>
              <c:ext xmlns:c16="http://schemas.microsoft.com/office/drawing/2014/chart" uri="{C3380CC4-5D6E-409C-BE32-E72D297353CC}">
                <c16:uniqueId val="{00000001-2988-4D21-A0A9-844AC235C4FA}"/>
              </c:ext>
            </c:extLst>
          </c:dPt>
          <c:dPt>
            <c:idx val="1"/>
            <c:bubble3D val="0"/>
            <c:spPr>
              <a:solidFill>
                <a:schemeClr val="tx1">
                  <a:lumMod val="10000"/>
                  <a:lumOff val="90000"/>
                </a:schemeClr>
              </a:solidFill>
              <a:ln>
                <a:noFill/>
              </a:ln>
            </c:spPr>
            <c:extLst>
              <c:ext xmlns:c16="http://schemas.microsoft.com/office/drawing/2014/chart" uri="{C3380CC4-5D6E-409C-BE32-E72D297353CC}">
                <c16:uniqueId val="{00000003-2988-4D21-A0A9-844AC235C4FA}"/>
              </c:ext>
            </c:extLst>
          </c:dPt>
          <c:dLbls>
            <c:delete val="1"/>
          </c:dLbls>
          <c:cat>
            <c:numRef>
              <c:f>Sheet1!$A$2:$A$3</c:f>
              <c:numCache>
                <c:formatCode>General</c:formatCode>
                <c:ptCount val="2"/>
              </c:numCache>
            </c:numRef>
          </c:cat>
          <c:val>
            <c:numRef>
              <c:f>Sheet1!$B$2:$B$3</c:f>
              <c:numCache>
                <c:formatCode>General</c:formatCode>
                <c:ptCount val="2"/>
                <c:pt idx="0">
                  <c:v>19</c:v>
                </c:pt>
                <c:pt idx="1">
                  <c:v>81</c:v>
                </c:pt>
              </c:numCache>
            </c:numRef>
          </c:val>
          <c:extLst>
            <c:ext xmlns:c16="http://schemas.microsoft.com/office/drawing/2014/chart" uri="{C3380CC4-5D6E-409C-BE32-E72D297353CC}">
              <c16:uniqueId val="{00000004-2988-4D21-A0A9-844AC235C4FA}"/>
            </c:ext>
          </c:extLst>
        </c:ser>
        <c:dLbls>
          <c:showLegendKey val="0"/>
          <c:showVal val="1"/>
          <c:showCatName val="0"/>
          <c:showSerName val="0"/>
          <c:showPercent val="0"/>
          <c:showBubbleSize val="0"/>
          <c:showLeaderLines val="1"/>
        </c:dLbls>
        <c:firstSliceAng val="155"/>
        <c:holeSize val="80"/>
      </c:doughnutChart>
    </c:plotArea>
    <c:plotVisOnly val="1"/>
    <c:dispBlanksAs val="zero"/>
    <c:showDLblsOverMax val="0"/>
  </c:chart>
  <c:txPr>
    <a:bodyPr/>
    <a:lstStyle/>
    <a:p>
      <a:pPr>
        <a:defRPr sz="1800" b="1"/>
      </a:pPr>
      <a:endParaRPr lang="nb-NO"/>
    </a:p>
  </c:txPr>
  <c:externalData r:id="rId1">
    <c:autoUpdate val="0"/>
  </c:externalData>
  <c:userShapes r:id="rId2"/>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426608411003525E-2"/>
          <c:y val="0.19596076018475994"/>
          <c:w val="0.87519429544404137"/>
          <c:h val="0.80193659226136638"/>
        </c:manualLayout>
      </c:layout>
      <c:barChart>
        <c:barDir val="col"/>
        <c:grouping val="clustered"/>
        <c:varyColors val="0"/>
        <c:ser>
          <c:idx val="0"/>
          <c:order val="0"/>
          <c:tx>
            <c:strRef>
              <c:f>Sheet1!$A$2</c:f>
              <c:strCache>
                <c:ptCount val="1"/>
                <c:pt idx="0">
                  <c:v>Category 1</c:v>
                </c:pt>
              </c:strCache>
            </c:strRef>
          </c:tx>
          <c:spPr>
            <a:blipFill>
              <a:blip xmlns:r="http://schemas.openxmlformats.org/officeDocument/2006/relationships" r:embed="rId1"/>
              <a:stretch>
                <a:fillRect/>
              </a:stretch>
            </a:blipFill>
          </c:spPr>
          <c:invertIfNegative val="0"/>
          <c:pictureOptions>
            <c:pictureFormat val="stack"/>
          </c:pictureOptions>
          <c:dPt>
            <c:idx val="0"/>
            <c:invertIfNegative val="0"/>
            <c:bubble3D val="0"/>
            <c:spPr>
              <a:blipFill dpi="0" rotWithShape="1">
                <a:blip xmlns:r="http://schemas.openxmlformats.org/officeDocument/2006/relationships" r:embed="rId2"/>
                <a:srcRect/>
                <a:stretch>
                  <a:fillRect/>
                </a:stretch>
              </a:blipFill>
            </c:spPr>
            <c:pictureOptions>
              <c:pictureFormat val="stackScale"/>
            </c:pictureOptions>
            <c:extLst>
              <c:ext xmlns:c16="http://schemas.microsoft.com/office/drawing/2014/chart" uri="{C3380CC4-5D6E-409C-BE32-E72D297353CC}">
                <c16:uniqueId val="{00000001-3525-482A-9DEE-E087CDED752A}"/>
              </c:ext>
            </c:extLst>
          </c:dPt>
          <c:dPt>
            <c:idx val="1"/>
            <c:invertIfNegative val="0"/>
            <c:bubble3D val="0"/>
            <c:spPr>
              <a:blipFill>
                <a:blip xmlns:r="http://schemas.openxmlformats.org/officeDocument/2006/relationships" r:embed="rId3"/>
                <a:stretch>
                  <a:fillRect/>
                </a:stretch>
              </a:blipFill>
            </c:spPr>
            <c:pictureOptions>
              <c:pictureFormat val="stackScale"/>
            </c:pictureOptions>
            <c:extLst>
              <c:ext xmlns:c16="http://schemas.microsoft.com/office/drawing/2014/chart" uri="{C3380CC4-5D6E-409C-BE32-E72D297353CC}">
                <c16:uniqueId val="{00000003-3525-482A-9DEE-E087CDED752A}"/>
              </c:ext>
            </c:extLst>
          </c:dPt>
          <c:dLbls>
            <c:delete val="1"/>
          </c:dLbls>
          <c:cat>
            <c:strRef>
              <c:f>Sheet1!$B$1:$C$1</c:f>
              <c:strCache>
                <c:ptCount val="2"/>
                <c:pt idx="0">
                  <c:v>Column2</c:v>
                </c:pt>
                <c:pt idx="1">
                  <c:v>Column1</c:v>
                </c:pt>
              </c:strCache>
            </c:strRef>
          </c:cat>
          <c:val>
            <c:numRef>
              <c:f>Sheet1!$B$2:$C$2</c:f>
              <c:numCache>
                <c:formatCode>0%</c:formatCode>
                <c:ptCount val="2"/>
                <c:pt idx="0">
                  <c:v>1</c:v>
                </c:pt>
                <c:pt idx="1">
                  <c:v>1</c:v>
                </c:pt>
              </c:numCache>
            </c:numRef>
          </c:val>
          <c:extLst>
            <c:ext xmlns:c16="http://schemas.microsoft.com/office/drawing/2014/chart" uri="{C3380CC4-5D6E-409C-BE32-E72D297353CC}">
              <c16:uniqueId val="{00000004-3525-482A-9DEE-E087CDED752A}"/>
            </c:ext>
          </c:extLst>
        </c:ser>
        <c:ser>
          <c:idx val="1"/>
          <c:order val="1"/>
          <c:tx>
            <c:strRef>
              <c:f>Sheet1!$A$3</c:f>
              <c:strCache>
                <c:ptCount val="1"/>
                <c:pt idx="0">
                  <c:v>Category 2</c:v>
                </c:pt>
              </c:strCache>
            </c:strRef>
          </c:tx>
          <c:spPr>
            <a:blipFill dpi="0" rotWithShape="1">
              <a:blip xmlns:r="http://schemas.openxmlformats.org/officeDocument/2006/relationships" r:embed="rId4">
                <a:alphaModFix amt="75000"/>
              </a:blip>
              <a:srcRect/>
              <a:stretch>
                <a:fillRect/>
              </a:stretch>
            </a:blipFill>
          </c:spPr>
          <c:invertIfNegative val="0"/>
          <c:pictureOptions>
            <c:pictureFormat val="stackScale"/>
            <c:pictureStackUnit val="1"/>
          </c:pictureOptions>
          <c:dPt>
            <c:idx val="0"/>
            <c:invertIfNegative val="0"/>
            <c:bubble3D val="0"/>
            <c:spPr>
              <a:blipFill dpi="0" rotWithShape="1">
                <a:blip xmlns:r="http://schemas.openxmlformats.org/officeDocument/2006/relationships" r:embed="rId5"/>
                <a:srcRect/>
                <a:stretch>
                  <a:fillRect/>
                </a:stretch>
              </a:blipFill>
            </c:spPr>
            <c:pictureOptions>
              <c:pictureFormat val="stackScale"/>
              <c:pictureStackUnit val="1"/>
            </c:pictureOptions>
            <c:extLst>
              <c:ext xmlns:c16="http://schemas.microsoft.com/office/drawing/2014/chart" uri="{C3380CC4-5D6E-409C-BE32-E72D297353CC}">
                <c16:uniqueId val="{00000006-3525-482A-9DEE-E087CDED752A}"/>
              </c:ext>
            </c:extLst>
          </c:dPt>
          <c:dPt>
            <c:idx val="1"/>
            <c:invertIfNegative val="0"/>
            <c:bubble3D val="0"/>
            <c:spPr>
              <a:blipFill dpi="0" rotWithShape="1">
                <a:blip xmlns:r="http://schemas.openxmlformats.org/officeDocument/2006/relationships" r:embed="rId6"/>
                <a:srcRect/>
                <a:stretch>
                  <a:fillRect/>
                </a:stretch>
              </a:blipFill>
            </c:spPr>
            <c:pictureOptions>
              <c:pictureFormat val="stackScale"/>
              <c:pictureStackUnit val="1"/>
            </c:pictureOptions>
            <c:extLst>
              <c:ext xmlns:c16="http://schemas.microsoft.com/office/drawing/2014/chart" uri="{C3380CC4-5D6E-409C-BE32-E72D297353CC}">
                <c16:uniqueId val="{00000008-3525-482A-9DEE-E087CDED752A}"/>
              </c:ext>
            </c:extLst>
          </c:dPt>
          <c:dLbls>
            <c:dLbl>
              <c:idx val="0"/>
              <c:layout>
                <c:manualLayout>
                  <c:x val="-2.3778741748633937E-17"/>
                  <c:y val="-0.4199659881373259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525-482A-9DEE-E087CDED752A}"/>
                </c:ext>
              </c:extLst>
            </c:dLbl>
            <c:dLbl>
              <c:idx val="1"/>
              <c:layout>
                <c:manualLayout>
                  <c:x val="5.1881490420409605E-3"/>
                  <c:y val="-0.4529065237165867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525-482A-9DEE-E087CDED752A}"/>
                </c:ext>
              </c:extLst>
            </c:dLbl>
            <c:spPr>
              <a:noFill/>
              <a:ln>
                <a:noFill/>
              </a:ln>
              <a:effectLst/>
            </c:spPr>
            <c:txPr>
              <a:bodyPr/>
              <a:lstStyle/>
              <a:p>
                <a:pPr>
                  <a:defRPr sz="2400" b="1">
                    <a:solidFill>
                      <a:schemeClr val="tx1"/>
                    </a:solidFill>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Column2</c:v>
                </c:pt>
                <c:pt idx="1">
                  <c:v>Column1</c:v>
                </c:pt>
              </c:strCache>
            </c:strRef>
          </c:cat>
          <c:val>
            <c:numRef>
              <c:f>Sheet1!$B$3:$C$3</c:f>
              <c:numCache>
                <c:formatCode>0%</c:formatCode>
                <c:ptCount val="2"/>
                <c:pt idx="0">
                  <c:v>0.52</c:v>
                </c:pt>
                <c:pt idx="1">
                  <c:v>0.48</c:v>
                </c:pt>
              </c:numCache>
            </c:numRef>
          </c:val>
          <c:extLst>
            <c:ext xmlns:c16="http://schemas.microsoft.com/office/drawing/2014/chart" uri="{C3380CC4-5D6E-409C-BE32-E72D297353CC}">
              <c16:uniqueId val="{00000009-3525-482A-9DEE-E087CDED752A}"/>
            </c:ext>
          </c:extLst>
        </c:ser>
        <c:dLbls>
          <c:dLblPos val="inBase"/>
          <c:showLegendKey val="0"/>
          <c:showVal val="1"/>
          <c:showCatName val="0"/>
          <c:showSerName val="0"/>
          <c:showPercent val="0"/>
          <c:showBubbleSize val="0"/>
        </c:dLbls>
        <c:gapWidth val="12"/>
        <c:overlap val="100"/>
        <c:axId val="110128512"/>
        <c:axId val="110154496"/>
      </c:barChart>
      <c:catAx>
        <c:axId val="110128512"/>
        <c:scaling>
          <c:orientation val="minMax"/>
        </c:scaling>
        <c:delete val="1"/>
        <c:axPos val="b"/>
        <c:numFmt formatCode="General" sourceLinked="0"/>
        <c:majorTickMark val="out"/>
        <c:minorTickMark val="none"/>
        <c:tickLblPos val="nextTo"/>
        <c:crossAx val="110154496"/>
        <c:crosses val="autoZero"/>
        <c:auto val="1"/>
        <c:lblAlgn val="ctr"/>
        <c:lblOffset val="100"/>
        <c:noMultiLvlLbl val="0"/>
      </c:catAx>
      <c:valAx>
        <c:axId val="110154496"/>
        <c:scaling>
          <c:orientation val="minMax"/>
          <c:max val="1"/>
        </c:scaling>
        <c:delete val="1"/>
        <c:axPos val="l"/>
        <c:numFmt formatCode="0%" sourceLinked="1"/>
        <c:majorTickMark val="out"/>
        <c:minorTickMark val="none"/>
        <c:tickLblPos val="nextTo"/>
        <c:crossAx val="110128512"/>
        <c:crosses val="autoZero"/>
        <c:crossBetween val="between"/>
      </c:valAx>
    </c:plotArea>
    <c:plotVisOnly val="1"/>
    <c:dispBlanksAs val="gap"/>
    <c:showDLblsOverMax val="0"/>
  </c:chart>
  <c:txPr>
    <a:bodyPr/>
    <a:lstStyle/>
    <a:p>
      <a:pPr>
        <a:defRPr sz="1800"/>
      </a:pPr>
      <a:endParaRPr lang="nb-NO"/>
    </a:p>
  </c:txPr>
  <c:externalData r:id="rId7">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134628733429246"/>
          <c:y val="0"/>
          <c:w val="0.46577610317521551"/>
          <c:h val="1"/>
        </c:manualLayout>
      </c:layout>
      <c:barChart>
        <c:barDir val="bar"/>
        <c:grouping val="stacked"/>
        <c:varyColors val="0"/>
        <c:ser>
          <c:idx val="0"/>
          <c:order val="0"/>
          <c:tx>
            <c:strRef>
              <c:f>Sheet1!$B$1</c:f>
              <c:strCache>
                <c:ptCount val="1"/>
                <c:pt idx="0">
                  <c:v>Series 1</c:v>
                </c:pt>
              </c:strCache>
            </c:strRef>
          </c:tx>
          <c:spPr>
            <a:solidFill>
              <a:srgbClr val="009D9C"/>
            </a:solidFill>
            <a:ln>
              <a:noFill/>
            </a:ln>
            <a:effectLst/>
          </c:spPr>
          <c:invertIfNegative val="0"/>
          <c:dPt>
            <c:idx val="0"/>
            <c:invertIfNegative val="0"/>
            <c:bubble3D val="0"/>
            <c:spPr>
              <a:solidFill>
                <a:srgbClr val="009D9C"/>
              </a:solidFill>
              <a:ln>
                <a:noFill/>
              </a:ln>
              <a:effectLst/>
            </c:spPr>
            <c:extLst>
              <c:ext xmlns:c16="http://schemas.microsoft.com/office/drawing/2014/chart" uri="{C3380CC4-5D6E-409C-BE32-E72D297353CC}">
                <c16:uniqueId val="{00000001-7957-4AFC-9C51-AEB8A45BA1A0}"/>
              </c:ext>
            </c:extLst>
          </c:dPt>
          <c:dPt>
            <c:idx val="1"/>
            <c:invertIfNegative val="0"/>
            <c:bubble3D val="0"/>
            <c:spPr>
              <a:solidFill>
                <a:srgbClr val="009D9C"/>
              </a:solidFill>
              <a:ln>
                <a:noFill/>
              </a:ln>
              <a:effectLst/>
            </c:spPr>
            <c:extLst>
              <c:ext xmlns:c16="http://schemas.microsoft.com/office/drawing/2014/chart" uri="{C3380CC4-5D6E-409C-BE32-E72D297353CC}">
                <c16:uniqueId val="{00000003-7957-4AFC-9C51-AEB8A45BA1A0}"/>
              </c:ext>
            </c:extLst>
          </c:dPt>
          <c:dPt>
            <c:idx val="2"/>
            <c:invertIfNegative val="0"/>
            <c:bubble3D val="0"/>
            <c:spPr>
              <a:solidFill>
                <a:srgbClr val="009D9C"/>
              </a:solidFill>
              <a:ln>
                <a:noFill/>
              </a:ln>
              <a:effectLst/>
            </c:spPr>
            <c:extLst>
              <c:ext xmlns:c16="http://schemas.microsoft.com/office/drawing/2014/chart" uri="{C3380CC4-5D6E-409C-BE32-E72D297353CC}">
                <c16:uniqueId val="{00000005-7957-4AFC-9C51-AEB8A45BA1A0}"/>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60+ år</c:v>
                </c:pt>
                <c:pt idx="1">
                  <c:v>40–59 år</c:v>
                </c:pt>
                <c:pt idx="2">
                  <c:v>18–39 år</c:v>
                </c:pt>
              </c:strCache>
            </c:strRef>
          </c:cat>
          <c:val>
            <c:numRef>
              <c:f>Sheet1!$B$2:$B$4</c:f>
              <c:numCache>
                <c:formatCode>0</c:formatCode>
                <c:ptCount val="3"/>
                <c:pt idx="0">
                  <c:v>42</c:v>
                </c:pt>
                <c:pt idx="1">
                  <c:v>39</c:v>
                </c:pt>
                <c:pt idx="2">
                  <c:v>19</c:v>
                </c:pt>
              </c:numCache>
            </c:numRef>
          </c:val>
          <c:extLst>
            <c:ext xmlns:c16="http://schemas.microsoft.com/office/drawing/2014/chart" uri="{C3380CC4-5D6E-409C-BE32-E72D297353CC}">
              <c16:uniqueId val="{00000006-7957-4AFC-9C51-AEB8A45BA1A0}"/>
            </c:ext>
          </c:extLst>
        </c:ser>
        <c:dLbls>
          <c:showLegendKey val="0"/>
          <c:showVal val="0"/>
          <c:showCatName val="0"/>
          <c:showSerName val="0"/>
          <c:showPercent val="0"/>
          <c:showBubbleSize val="0"/>
        </c:dLbls>
        <c:gapWidth val="182"/>
        <c:overlap val="100"/>
        <c:axId val="676344616"/>
        <c:axId val="676344288"/>
      </c:barChart>
      <c:catAx>
        <c:axId val="6763446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nb-NO"/>
          </a:p>
        </c:txPr>
        <c:crossAx val="676344288"/>
        <c:crosses val="autoZero"/>
        <c:auto val="1"/>
        <c:lblAlgn val="ctr"/>
        <c:lblOffset val="100"/>
        <c:noMultiLvlLbl val="0"/>
      </c:catAx>
      <c:valAx>
        <c:axId val="676344288"/>
        <c:scaling>
          <c:orientation val="minMax"/>
          <c:max val="60"/>
        </c:scaling>
        <c:delete val="1"/>
        <c:axPos val="b"/>
        <c:numFmt formatCode="#&quot;%&quot;" sourceLinked="0"/>
        <c:majorTickMark val="none"/>
        <c:minorTickMark val="none"/>
        <c:tickLblPos val="nextTo"/>
        <c:crossAx val="67634461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2623806226526084"/>
          <c:y val="1.5786602944061413E-2"/>
          <c:w val="0.43214262610868687"/>
          <c:h val="0.89378355286167077"/>
        </c:manualLayout>
      </c:layout>
      <c:barChart>
        <c:barDir val="bar"/>
        <c:grouping val="stacked"/>
        <c:varyColors val="0"/>
        <c:ser>
          <c:idx val="0"/>
          <c:order val="0"/>
          <c:tx>
            <c:strRef>
              <c:f>Sheet1!$B$1</c:f>
              <c:strCache>
                <c:ptCount val="1"/>
                <c:pt idx="0">
                  <c:v>Series 1</c:v>
                </c:pt>
              </c:strCache>
            </c:strRef>
          </c:tx>
          <c:spPr>
            <a:solidFill>
              <a:srgbClr val="009D9C"/>
            </a:solidFill>
            <a:ln>
              <a:noFill/>
            </a:ln>
            <a:effectLst/>
          </c:spPr>
          <c:invertIfNegative val="0"/>
          <c:dPt>
            <c:idx val="0"/>
            <c:invertIfNegative val="0"/>
            <c:bubble3D val="0"/>
            <c:spPr>
              <a:solidFill>
                <a:srgbClr val="009D9C"/>
              </a:solidFill>
              <a:ln>
                <a:noFill/>
              </a:ln>
              <a:effectLst/>
            </c:spPr>
            <c:extLst>
              <c:ext xmlns:c16="http://schemas.microsoft.com/office/drawing/2014/chart" uri="{C3380CC4-5D6E-409C-BE32-E72D297353CC}">
                <c16:uniqueId val="{00000001-144D-4B2E-BBD8-B7C08FF5586C}"/>
              </c:ext>
            </c:extLst>
          </c:dPt>
          <c:dPt>
            <c:idx val="1"/>
            <c:invertIfNegative val="0"/>
            <c:bubble3D val="0"/>
            <c:spPr>
              <a:solidFill>
                <a:srgbClr val="009D9C"/>
              </a:solidFill>
              <a:ln>
                <a:noFill/>
              </a:ln>
              <a:effectLst/>
            </c:spPr>
            <c:extLst>
              <c:ext xmlns:c16="http://schemas.microsoft.com/office/drawing/2014/chart" uri="{C3380CC4-5D6E-409C-BE32-E72D297353CC}">
                <c16:uniqueId val="{00000003-144D-4B2E-BBD8-B7C08FF5586C}"/>
              </c:ext>
            </c:extLst>
          </c:dPt>
          <c:dPt>
            <c:idx val="2"/>
            <c:invertIfNegative val="0"/>
            <c:bubble3D val="0"/>
            <c:spPr>
              <a:solidFill>
                <a:srgbClr val="009D9C"/>
              </a:solidFill>
              <a:ln>
                <a:noFill/>
              </a:ln>
              <a:effectLst/>
            </c:spPr>
            <c:extLst>
              <c:ext xmlns:c16="http://schemas.microsoft.com/office/drawing/2014/chart" uri="{C3380CC4-5D6E-409C-BE32-E72D297353CC}">
                <c16:uniqueId val="{00000005-144D-4B2E-BBD8-B7C08FF5586C}"/>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b-N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mtrent like mye hjemme som andre steder</c:v>
                </c:pt>
                <c:pt idx="1">
                  <c:v>Mest andre steder enn hjemme (arbeids-/studiested e.l.)</c:v>
                </c:pt>
                <c:pt idx="2">
                  <c:v>Mest hjemme</c:v>
                </c:pt>
              </c:strCache>
            </c:strRef>
          </c:cat>
          <c:val>
            <c:numRef>
              <c:f>Sheet1!$B$2:$B$4</c:f>
              <c:numCache>
                <c:formatCode>General</c:formatCode>
                <c:ptCount val="3"/>
                <c:pt idx="0">
                  <c:v>18</c:v>
                </c:pt>
                <c:pt idx="1">
                  <c:v>35</c:v>
                </c:pt>
                <c:pt idx="2">
                  <c:v>47</c:v>
                </c:pt>
              </c:numCache>
            </c:numRef>
          </c:val>
          <c:extLst>
            <c:ext xmlns:c16="http://schemas.microsoft.com/office/drawing/2014/chart" uri="{C3380CC4-5D6E-409C-BE32-E72D297353CC}">
              <c16:uniqueId val="{00000006-144D-4B2E-BBD8-B7C08FF5586C}"/>
            </c:ext>
          </c:extLst>
        </c:ser>
        <c:dLbls>
          <c:showLegendKey val="0"/>
          <c:showVal val="0"/>
          <c:showCatName val="0"/>
          <c:showSerName val="0"/>
          <c:showPercent val="0"/>
          <c:showBubbleSize val="0"/>
        </c:dLbls>
        <c:gapWidth val="182"/>
        <c:overlap val="100"/>
        <c:axId val="676344616"/>
        <c:axId val="676344288"/>
      </c:barChart>
      <c:catAx>
        <c:axId val="6763446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nb-NO"/>
          </a:p>
        </c:txPr>
        <c:crossAx val="676344288"/>
        <c:crosses val="autoZero"/>
        <c:auto val="1"/>
        <c:lblAlgn val="ctr"/>
        <c:lblOffset val="100"/>
        <c:noMultiLvlLbl val="0"/>
      </c:catAx>
      <c:valAx>
        <c:axId val="676344288"/>
        <c:scaling>
          <c:orientation val="minMax"/>
          <c:max val="60"/>
        </c:scaling>
        <c:delete val="1"/>
        <c:axPos val="b"/>
        <c:numFmt formatCode="#&quot;%&quot;" sourceLinked="0"/>
        <c:majorTickMark val="none"/>
        <c:minorTickMark val="none"/>
        <c:tickLblPos val="nextTo"/>
        <c:crossAx val="67634461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163596618467104"/>
          <c:y val="4.0339550152129339E-2"/>
          <c:w val="0.91535566102465804"/>
          <c:h val="0.66117145689170898"/>
        </c:manualLayout>
      </c:layout>
      <c:doughnutChart>
        <c:varyColors val="1"/>
        <c:ser>
          <c:idx val="0"/>
          <c:order val="0"/>
          <c:tx>
            <c:strRef>
              <c:f>Sheet1!$B$1</c:f>
              <c:strCache>
                <c:ptCount val="1"/>
                <c:pt idx="0">
                  <c:v>Column1</c:v>
                </c:pt>
              </c:strCache>
            </c:strRef>
          </c:tx>
          <c:spPr>
            <a:ln>
              <a:noFill/>
            </a:ln>
          </c:spPr>
          <c:dPt>
            <c:idx val="0"/>
            <c:bubble3D val="0"/>
            <c:spPr>
              <a:solidFill>
                <a:schemeClr val="tx2"/>
              </a:solidFill>
              <a:ln>
                <a:noFill/>
              </a:ln>
            </c:spPr>
            <c:extLst>
              <c:ext xmlns:c16="http://schemas.microsoft.com/office/drawing/2014/chart" uri="{C3380CC4-5D6E-409C-BE32-E72D297353CC}">
                <c16:uniqueId val="{00000001-A6DE-4F25-A139-936B55D2CFA9}"/>
              </c:ext>
            </c:extLst>
          </c:dPt>
          <c:dPt>
            <c:idx val="1"/>
            <c:bubble3D val="0"/>
            <c:spPr>
              <a:solidFill>
                <a:schemeClr val="bg1">
                  <a:lumMod val="85000"/>
                </a:schemeClr>
              </a:solidFill>
              <a:ln>
                <a:noFill/>
              </a:ln>
            </c:spPr>
            <c:extLst>
              <c:ext xmlns:c16="http://schemas.microsoft.com/office/drawing/2014/chart" uri="{C3380CC4-5D6E-409C-BE32-E72D297353CC}">
                <c16:uniqueId val="{00000003-A6DE-4F25-A139-936B55D2CFA9}"/>
              </c:ext>
            </c:extLst>
          </c:dPt>
          <c:dLbls>
            <c:dLbl>
              <c:idx val="1"/>
              <c:spPr>
                <a:noFill/>
                <a:ln>
                  <a:noFill/>
                </a:ln>
                <a:effectLst/>
              </c:spPr>
              <c:txPr>
                <a:bodyPr wrap="square" lIns="38100" tIns="19050" rIns="38100" bIns="19050" anchor="ctr">
                  <a:spAutoFit/>
                </a:bodyPr>
                <a:lstStyle/>
                <a:p>
                  <a:pPr>
                    <a:defRPr sz="1600" b="1">
                      <a:solidFill>
                        <a:schemeClr val="tx1"/>
                      </a:solidFill>
                    </a:defRPr>
                  </a:pPr>
                  <a:endParaRPr lang="nb-NO"/>
                </a:p>
              </c:txPr>
              <c:showLegendKey val="0"/>
              <c:showVal val="1"/>
              <c:showCatName val="0"/>
              <c:showSerName val="0"/>
              <c:showPercent val="0"/>
              <c:showBubbleSize val="0"/>
              <c:extLst>
                <c:ext xmlns:c16="http://schemas.microsoft.com/office/drawing/2014/chart" uri="{C3380CC4-5D6E-409C-BE32-E72D297353CC}">
                  <c16:uniqueId val="{00000003-A6DE-4F25-A139-936B55D2CFA9}"/>
                </c:ext>
              </c:extLst>
            </c:dLbl>
            <c:spPr>
              <a:noFill/>
              <a:ln>
                <a:noFill/>
              </a:ln>
              <a:effectLst/>
            </c:spPr>
            <c:txPr>
              <a:bodyPr wrap="square" lIns="38100" tIns="19050" rIns="38100" bIns="19050" anchor="ctr">
                <a:spAutoFit/>
              </a:bodyPr>
              <a:lstStyle/>
              <a:p>
                <a:pPr>
                  <a:defRPr sz="1600" b="1">
                    <a:solidFill>
                      <a:schemeClr val="bg1"/>
                    </a:solidFill>
                  </a:defRPr>
                </a:pPr>
                <a:endParaRPr lang="nb-NO"/>
              </a:p>
            </c:txPr>
            <c:showLegendKey val="0"/>
            <c:showVal val="1"/>
            <c:showCatName val="0"/>
            <c:showSerName val="0"/>
            <c:showPercent val="0"/>
            <c:showBubbleSize val="0"/>
            <c:showLeaderLines val="1"/>
            <c:extLst>
              <c:ext xmlns:c15="http://schemas.microsoft.com/office/drawing/2012/chart" uri="{CE6537A1-D6FC-4f65-9D91-7224C49458BB}"/>
            </c:extLst>
          </c:dLbls>
          <c:cat>
            <c:strRef>
              <c:f>Sheet1!$A$2:$A$3</c:f>
              <c:strCache>
                <c:ptCount val="2"/>
                <c:pt idx="0">
                  <c:v>Ja</c:v>
                </c:pt>
                <c:pt idx="1">
                  <c:v>Nei</c:v>
                </c:pt>
              </c:strCache>
            </c:strRef>
          </c:cat>
          <c:val>
            <c:numRef>
              <c:f>Sheet1!$B$2:$B$3</c:f>
              <c:numCache>
                <c:formatCode>General</c:formatCode>
                <c:ptCount val="2"/>
                <c:pt idx="0">
                  <c:v>37</c:v>
                </c:pt>
                <c:pt idx="1">
                  <c:v>63</c:v>
                </c:pt>
              </c:numCache>
            </c:numRef>
          </c:val>
          <c:extLst>
            <c:ext xmlns:c16="http://schemas.microsoft.com/office/drawing/2014/chart" uri="{C3380CC4-5D6E-409C-BE32-E72D297353CC}">
              <c16:uniqueId val="{00000004-A6DE-4F25-A139-936B55D2CFA9}"/>
            </c:ext>
          </c:extLst>
        </c:ser>
        <c:dLbls>
          <c:showLegendKey val="0"/>
          <c:showVal val="1"/>
          <c:showCatName val="0"/>
          <c:showSerName val="0"/>
          <c:showPercent val="0"/>
          <c:showBubbleSize val="0"/>
          <c:showLeaderLines val="1"/>
        </c:dLbls>
        <c:firstSliceAng val="0"/>
        <c:holeSize val="62"/>
      </c:doughnutChart>
    </c:plotArea>
    <c:legend>
      <c:legendPos val="r"/>
      <c:layout>
        <c:manualLayout>
          <c:xMode val="edge"/>
          <c:yMode val="edge"/>
          <c:x val="0.87987411758199785"/>
          <c:y val="0.26340939273591635"/>
          <c:w val="0.11779254902342648"/>
          <c:h val="0.2324282453995225"/>
        </c:manualLayout>
      </c:layout>
      <c:overlay val="0"/>
      <c:txPr>
        <a:bodyPr/>
        <a:lstStyle/>
        <a:p>
          <a:pPr>
            <a:defRPr sz="1600"/>
          </a:pPr>
          <a:endParaRPr lang="nb-NO"/>
        </a:p>
      </c:txPr>
    </c:legend>
    <c:plotVisOnly val="1"/>
    <c:dispBlanksAs val="zero"/>
    <c:showDLblsOverMax val="0"/>
  </c:chart>
  <c:txPr>
    <a:bodyPr/>
    <a:lstStyle/>
    <a:p>
      <a:pPr>
        <a:defRPr sz="1800"/>
      </a:pPr>
      <a:endParaRPr lang="nb-NO"/>
    </a:p>
  </c:txPr>
  <c:externalData r:id="rId1">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96043909386328"/>
          <c:y val="0.11397737452450812"/>
          <c:w val="0.85103956090613686"/>
          <c:h val="0.85142338596529032"/>
        </c:manualLayout>
      </c:layout>
      <c:barChart>
        <c:barDir val="bar"/>
        <c:grouping val="stacked"/>
        <c:varyColors val="0"/>
        <c:ser>
          <c:idx val="0"/>
          <c:order val="0"/>
          <c:tx>
            <c:strRef>
              <c:f>'Ark1'!$B$1</c:f>
              <c:strCache>
                <c:ptCount val="1"/>
                <c:pt idx="0">
                  <c:v>Norge</c:v>
                </c:pt>
              </c:strCache>
            </c:strRef>
          </c:tx>
          <c:spPr>
            <a:solidFill>
              <a:srgbClr val="009D9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lt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rk1'!$A$2:$A$4</c:f>
              <c:strCache>
                <c:ptCount val="3"/>
                <c:pt idx="0">
                  <c:v>Din mor født?</c:v>
                </c:pt>
                <c:pt idx="1">
                  <c:v>Din far født?</c:v>
                </c:pt>
                <c:pt idx="2">
                  <c:v>Du født?</c:v>
                </c:pt>
              </c:strCache>
            </c:strRef>
          </c:cat>
          <c:val>
            <c:numRef>
              <c:f>'Ark1'!$B$2:$B$4</c:f>
              <c:numCache>
                <c:formatCode>General</c:formatCode>
                <c:ptCount val="3"/>
                <c:pt idx="0">
                  <c:v>81</c:v>
                </c:pt>
                <c:pt idx="1">
                  <c:v>79</c:v>
                </c:pt>
                <c:pt idx="2">
                  <c:v>85</c:v>
                </c:pt>
              </c:numCache>
            </c:numRef>
          </c:val>
          <c:extLst>
            <c:ext xmlns:c16="http://schemas.microsoft.com/office/drawing/2014/chart" uri="{C3380CC4-5D6E-409C-BE32-E72D297353CC}">
              <c16:uniqueId val="{00000000-3AD0-4F9C-84C4-801D12F574DA}"/>
            </c:ext>
          </c:extLst>
        </c:ser>
        <c:ser>
          <c:idx val="1"/>
          <c:order val="1"/>
          <c:tx>
            <c:strRef>
              <c:f>'Ark1'!$C$1</c:f>
              <c:strCache>
                <c:ptCount val="1"/>
                <c:pt idx="0">
                  <c:v>Annet land</c:v>
                </c:pt>
              </c:strCache>
            </c:strRef>
          </c:tx>
          <c:spPr>
            <a:solidFill>
              <a:srgbClr val="00768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lt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rk1'!$A$2:$A$4</c:f>
              <c:strCache>
                <c:ptCount val="3"/>
                <c:pt idx="0">
                  <c:v>Din mor født?</c:v>
                </c:pt>
                <c:pt idx="1">
                  <c:v>Din far født?</c:v>
                </c:pt>
                <c:pt idx="2">
                  <c:v>Du født?</c:v>
                </c:pt>
              </c:strCache>
            </c:strRef>
          </c:cat>
          <c:val>
            <c:numRef>
              <c:f>'Ark1'!$C$2:$C$4</c:f>
              <c:numCache>
                <c:formatCode>General</c:formatCode>
                <c:ptCount val="3"/>
                <c:pt idx="0">
                  <c:v>18</c:v>
                </c:pt>
                <c:pt idx="1">
                  <c:v>20</c:v>
                </c:pt>
                <c:pt idx="2">
                  <c:v>15</c:v>
                </c:pt>
              </c:numCache>
            </c:numRef>
          </c:val>
          <c:extLst>
            <c:ext xmlns:c16="http://schemas.microsoft.com/office/drawing/2014/chart" uri="{C3380CC4-5D6E-409C-BE32-E72D297353CC}">
              <c16:uniqueId val="{00000001-3AD0-4F9C-84C4-801D12F574DA}"/>
            </c:ext>
          </c:extLst>
        </c:ser>
        <c:ser>
          <c:idx val="2"/>
          <c:order val="2"/>
          <c:tx>
            <c:strRef>
              <c:f>'Ark1'!$D$1</c:f>
              <c:strCache>
                <c:ptCount val="1"/>
                <c:pt idx="0">
                  <c:v>Vet ikke /Ønsker ikke oppgi</c:v>
                </c:pt>
              </c:strCache>
            </c:strRef>
          </c:tx>
          <c:spPr>
            <a:solidFill>
              <a:srgbClr val="D9D9D9"/>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B-3AD0-4F9C-84C4-801D12F574D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rk1'!$A$2:$A$4</c:f>
              <c:strCache>
                <c:ptCount val="3"/>
                <c:pt idx="0">
                  <c:v>Din mor født?</c:v>
                </c:pt>
                <c:pt idx="1">
                  <c:v>Din far født?</c:v>
                </c:pt>
                <c:pt idx="2">
                  <c:v>Du født?</c:v>
                </c:pt>
              </c:strCache>
            </c:strRef>
          </c:cat>
          <c:val>
            <c:numRef>
              <c:f>'Ark1'!$D$2:$D$4</c:f>
              <c:numCache>
                <c:formatCode>General</c:formatCode>
                <c:ptCount val="3"/>
                <c:pt idx="0">
                  <c:v>1</c:v>
                </c:pt>
                <c:pt idx="1">
                  <c:v>1</c:v>
                </c:pt>
                <c:pt idx="2">
                  <c:v>0</c:v>
                </c:pt>
              </c:numCache>
            </c:numRef>
          </c:val>
          <c:extLst>
            <c:ext xmlns:c16="http://schemas.microsoft.com/office/drawing/2014/chart" uri="{C3380CC4-5D6E-409C-BE32-E72D297353CC}">
              <c16:uniqueId val="{00000002-3AD0-4F9C-84C4-801D12F574DA}"/>
            </c:ext>
          </c:extLst>
        </c:ser>
        <c:dLbls>
          <c:dLblPos val="ctr"/>
          <c:showLegendKey val="0"/>
          <c:showVal val="1"/>
          <c:showCatName val="0"/>
          <c:showSerName val="0"/>
          <c:showPercent val="0"/>
          <c:showBubbleSize val="0"/>
        </c:dLbls>
        <c:gapWidth val="79"/>
        <c:overlap val="100"/>
        <c:axId val="1022727768"/>
        <c:axId val="1022728096"/>
      </c:barChart>
      <c:catAx>
        <c:axId val="10227277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cap="none" spc="120" normalizeH="0" baseline="0">
                <a:solidFill>
                  <a:schemeClr val="tx1"/>
                </a:solidFill>
                <a:latin typeface="+mn-lt"/>
                <a:ea typeface="+mn-ea"/>
                <a:cs typeface="+mn-cs"/>
              </a:defRPr>
            </a:pPr>
            <a:endParaRPr lang="nb-NO"/>
          </a:p>
        </c:txPr>
        <c:crossAx val="1022728096"/>
        <c:crosses val="autoZero"/>
        <c:auto val="1"/>
        <c:lblAlgn val="ctr"/>
        <c:lblOffset val="100"/>
        <c:noMultiLvlLbl val="0"/>
      </c:catAx>
      <c:valAx>
        <c:axId val="1022728096"/>
        <c:scaling>
          <c:orientation val="minMax"/>
        </c:scaling>
        <c:delete val="1"/>
        <c:axPos val="b"/>
        <c:numFmt formatCode="General" sourceLinked="1"/>
        <c:majorTickMark val="none"/>
        <c:minorTickMark val="none"/>
        <c:tickLblPos val="nextTo"/>
        <c:crossAx val="1022727768"/>
        <c:crosses val="autoZero"/>
        <c:crossBetween val="between"/>
      </c:valAx>
      <c:spPr>
        <a:noFill/>
        <a:ln>
          <a:noFill/>
        </a:ln>
        <a:effectLst/>
      </c:spPr>
    </c:plotArea>
    <c:legend>
      <c:legendPos val="t"/>
      <c:layout>
        <c:manualLayout>
          <c:xMode val="edge"/>
          <c:yMode val="edge"/>
          <c:x val="0.27606748812820919"/>
          <c:y val="0.92806800769059128"/>
          <c:w val="0.35335180937246075"/>
          <c:h val="5.842201585631792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700371421560675E-2"/>
          <c:y val="1.5925884184738066E-2"/>
          <c:w val="0.93166812068382365"/>
          <c:h val="0.4673301030337968"/>
        </c:manualLayout>
      </c:layout>
      <c:barChart>
        <c:barDir val="bar"/>
        <c:grouping val="percentStacked"/>
        <c:varyColors val="0"/>
        <c:ser>
          <c:idx val="0"/>
          <c:order val="0"/>
          <c:tx>
            <c:strRef>
              <c:f>Sheet1!$B$1</c:f>
              <c:strCache>
                <c:ptCount val="1"/>
                <c:pt idx="0">
                  <c:v>Ingen grad</c:v>
                </c:pt>
              </c:strCache>
            </c:strRef>
          </c:tx>
          <c:spPr>
            <a:solidFill>
              <a:srgbClr val="00768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B$2</c:f>
              <c:numCache>
                <c:formatCode>General</c:formatCode>
                <c:ptCount val="1"/>
                <c:pt idx="0">
                  <c:v>33</c:v>
                </c:pt>
              </c:numCache>
            </c:numRef>
          </c:val>
          <c:extLst>
            <c:ext xmlns:c16="http://schemas.microsoft.com/office/drawing/2014/chart" uri="{C3380CC4-5D6E-409C-BE32-E72D297353CC}">
              <c16:uniqueId val="{00000000-0937-4490-A4B8-F62231CDADF8}"/>
            </c:ext>
          </c:extLst>
        </c:ser>
        <c:ser>
          <c:idx val="1"/>
          <c:order val="1"/>
          <c:tx>
            <c:strRef>
              <c:f>Sheet1!$C$1</c:f>
              <c:strCache>
                <c:ptCount val="1"/>
                <c:pt idx="0">
                  <c:v>Liten grad</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C$2</c:f>
              <c:numCache>
                <c:formatCode>General</c:formatCode>
                <c:ptCount val="1"/>
                <c:pt idx="0">
                  <c:v>38</c:v>
                </c:pt>
              </c:numCache>
            </c:numRef>
          </c:val>
          <c:extLst>
            <c:ext xmlns:c16="http://schemas.microsoft.com/office/drawing/2014/chart" uri="{C3380CC4-5D6E-409C-BE32-E72D297353CC}">
              <c16:uniqueId val="{00000001-0937-4490-A4B8-F62231CDADF8}"/>
            </c:ext>
          </c:extLst>
        </c:ser>
        <c:ser>
          <c:idx val="2"/>
          <c:order val="2"/>
          <c:tx>
            <c:strRef>
              <c:f>Sheet1!$D$1</c:f>
              <c:strCache>
                <c:ptCount val="1"/>
                <c:pt idx="0">
                  <c:v>Noen grad</c:v>
                </c:pt>
              </c:strCache>
            </c:strRef>
          </c:tx>
          <c:spPr>
            <a:solidFill>
              <a:srgbClr val="F28E8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D$2</c:f>
              <c:numCache>
                <c:formatCode>General</c:formatCode>
                <c:ptCount val="1"/>
                <c:pt idx="0">
                  <c:v>23</c:v>
                </c:pt>
              </c:numCache>
            </c:numRef>
          </c:val>
          <c:extLst>
            <c:ext xmlns:c16="http://schemas.microsoft.com/office/drawing/2014/chart" uri="{C3380CC4-5D6E-409C-BE32-E72D297353CC}">
              <c16:uniqueId val="{00000002-0937-4490-A4B8-F62231CDADF8}"/>
            </c:ext>
          </c:extLst>
        </c:ser>
        <c:ser>
          <c:idx val="3"/>
          <c:order val="3"/>
          <c:tx>
            <c:strRef>
              <c:f>Sheet1!$E$1</c:f>
              <c:strCache>
                <c:ptCount val="1"/>
                <c:pt idx="0">
                  <c:v>Høy grad</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E$2</c:f>
              <c:numCache>
                <c:formatCode>General</c:formatCode>
                <c:ptCount val="1"/>
                <c:pt idx="0">
                  <c:v>5</c:v>
                </c:pt>
              </c:numCache>
            </c:numRef>
          </c:val>
          <c:extLst>
            <c:ext xmlns:c16="http://schemas.microsoft.com/office/drawing/2014/chart" uri="{C3380CC4-5D6E-409C-BE32-E72D297353CC}">
              <c16:uniqueId val="{00000003-0937-4490-A4B8-F62231CDADF8}"/>
            </c:ext>
          </c:extLst>
        </c:ser>
        <c:ser>
          <c:idx val="4"/>
          <c:order val="4"/>
          <c:tx>
            <c:strRef>
              <c:f>Sheet1!$F$1</c:f>
              <c:strCache>
                <c:ptCount val="1"/>
                <c:pt idx="0">
                  <c:v>Vet ikk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ategory 1</c:v>
                </c:pt>
              </c:strCache>
            </c:strRef>
          </c:cat>
          <c:val>
            <c:numRef>
              <c:f>Sheet1!$F$2</c:f>
              <c:numCache>
                <c:formatCode>General</c:formatCode>
                <c:ptCount val="1"/>
                <c:pt idx="0">
                  <c:v>1</c:v>
                </c:pt>
              </c:numCache>
            </c:numRef>
          </c:val>
          <c:extLst>
            <c:ext xmlns:c16="http://schemas.microsoft.com/office/drawing/2014/chart" uri="{C3380CC4-5D6E-409C-BE32-E72D297353CC}">
              <c16:uniqueId val="{00000004-0937-4490-A4B8-F62231CDADF8}"/>
            </c:ext>
          </c:extLst>
        </c:ser>
        <c:dLbls>
          <c:dLblPos val="ctr"/>
          <c:showLegendKey val="0"/>
          <c:showVal val="1"/>
          <c:showCatName val="0"/>
          <c:showSerName val="0"/>
          <c:showPercent val="0"/>
          <c:showBubbleSize val="0"/>
        </c:dLbls>
        <c:gapWidth val="104"/>
        <c:overlap val="100"/>
        <c:axId val="419523816"/>
        <c:axId val="419528080"/>
      </c:barChart>
      <c:catAx>
        <c:axId val="419523816"/>
        <c:scaling>
          <c:orientation val="minMax"/>
        </c:scaling>
        <c:delete val="1"/>
        <c:axPos val="l"/>
        <c:numFmt formatCode="General" sourceLinked="1"/>
        <c:majorTickMark val="none"/>
        <c:minorTickMark val="none"/>
        <c:tickLblPos val="nextTo"/>
        <c:crossAx val="419528080"/>
        <c:crosses val="autoZero"/>
        <c:auto val="1"/>
        <c:lblAlgn val="ctr"/>
        <c:lblOffset val="100"/>
        <c:noMultiLvlLbl val="0"/>
      </c:catAx>
      <c:valAx>
        <c:axId val="419528080"/>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nb-NO"/>
          </a:p>
        </c:txPr>
        <c:crossAx val="419523816"/>
        <c:crosses val="autoZero"/>
        <c:crossBetween val="between"/>
        <c:majorUnit val="0.2"/>
      </c:valAx>
      <c:spPr>
        <a:noFill/>
        <a:ln>
          <a:noFill/>
        </a:ln>
        <a:effectLst/>
      </c:spPr>
    </c:plotArea>
    <c:legend>
      <c:legendPos val="b"/>
      <c:layout>
        <c:manualLayout>
          <c:xMode val="edge"/>
          <c:yMode val="edge"/>
          <c:x val="2.0301595454082135E-2"/>
          <c:y val="0.80821447164760973"/>
          <c:w val="0.91960672467653259"/>
          <c:h val="0.107875260979831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5289474392424309"/>
          <c:y val="3.2714458128801784E-2"/>
          <c:w val="0.44111187509755712"/>
          <c:h val="0.88621005762557026"/>
        </c:manualLayout>
      </c:layout>
      <c:barChart>
        <c:barDir val="bar"/>
        <c:grouping val="clustered"/>
        <c:varyColors val="0"/>
        <c:ser>
          <c:idx val="0"/>
          <c:order val="0"/>
          <c:tx>
            <c:strRef>
              <c:f>Sheet1!$B$1</c:f>
              <c:strCache>
                <c:ptCount val="1"/>
                <c:pt idx="0">
                  <c:v>Series 1</c:v>
                </c:pt>
              </c:strCache>
            </c:strRef>
          </c:tx>
          <c:spPr>
            <a:solidFill>
              <a:schemeClr val="tx2"/>
            </a:solidFill>
            <a:ln>
              <a:noFill/>
            </a:ln>
            <a:effectLst/>
          </c:spPr>
          <c:invertIfNegative val="0"/>
          <c:dPt>
            <c:idx val="5"/>
            <c:invertIfNegative val="0"/>
            <c:bubble3D val="0"/>
            <c:spPr>
              <a:solidFill>
                <a:schemeClr val="tx2"/>
              </a:solidFill>
              <a:ln>
                <a:noFill/>
              </a:ln>
              <a:effectLst/>
            </c:spPr>
            <c:extLst>
              <c:ext xmlns:c16="http://schemas.microsoft.com/office/drawing/2014/chart" uri="{C3380CC4-5D6E-409C-BE32-E72D297353CC}">
                <c16:uniqueId val="{00000001-71F5-4582-85DF-A422CD4FF2C1}"/>
              </c:ext>
            </c:extLst>
          </c:dPt>
          <c:dPt>
            <c:idx val="8"/>
            <c:invertIfNegative val="0"/>
            <c:bubble3D val="0"/>
            <c:spPr>
              <a:solidFill>
                <a:schemeClr val="tx2"/>
              </a:solidFill>
              <a:ln>
                <a:noFill/>
              </a:ln>
              <a:effectLst/>
            </c:spPr>
            <c:extLst>
              <c:ext xmlns:c16="http://schemas.microsoft.com/office/drawing/2014/chart" uri="{C3380CC4-5D6E-409C-BE32-E72D297353CC}">
                <c16:uniqueId val="{00000003-5182-4F95-9362-B2D2840CE4EE}"/>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nb-NO"/>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Vet ikke</c:v>
                </c:pt>
                <c:pt idx="1">
                  <c:v>Ingen av disse</c:v>
                </c:pt>
                <c:pt idx="2">
                  <c:v>Annet</c:v>
                </c:pt>
                <c:pt idx="3">
                  <c:v>Minner på vonde opplevelser etter krig, konflikt eller terror</c:v>
                </c:pt>
                <c:pt idx="4">
                  <c:v>Helsen</c:v>
                </c:pt>
                <c:pt idx="5">
                  <c:v>Arbeid/skolearbeid/barnehage</c:v>
                </c:pt>
                <c:pt idx="6">
                  <c:v>Fritidsaktiviteter</c:v>
                </c:pt>
                <c:pt idx="7">
                  <c:v>Friluftsopplevelser</c:v>
                </c:pt>
                <c:pt idx="8">
                  <c:v>Søvn</c:v>
                </c:pt>
                <c:pt idx="9">
                  <c:v>Alminnelig ro i hjem og hage</c:v>
                </c:pt>
              </c:strCache>
            </c:strRef>
          </c:cat>
          <c:val>
            <c:numRef>
              <c:f>Sheet1!$B$2:$B$11</c:f>
              <c:numCache>
                <c:formatCode>General</c:formatCode>
                <c:ptCount val="10"/>
                <c:pt idx="0">
                  <c:v>4</c:v>
                </c:pt>
                <c:pt idx="1">
                  <c:v>23</c:v>
                </c:pt>
                <c:pt idx="2">
                  <c:v>13</c:v>
                </c:pt>
                <c:pt idx="3">
                  <c:v>2</c:v>
                </c:pt>
                <c:pt idx="4">
                  <c:v>3</c:v>
                </c:pt>
                <c:pt idx="5">
                  <c:v>7</c:v>
                </c:pt>
                <c:pt idx="6">
                  <c:v>12</c:v>
                </c:pt>
                <c:pt idx="7">
                  <c:v>18</c:v>
                </c:pt>
                <c:pt idx="8">
                  <c:v>26</c:v>
                </c:pt>
                <c:pt idx="9">
                  <c:v>42</c:v>
                </c:pt>
              </c:numCache>
            </c:numRef>
          </c:val>
          <c:extLst>
            <c:ext xmlns:c16="http://schemas.microsoft.com/office/drawing/2014/chart" uri="{C3380CC4-5D6E-409C-BE32-E72D297353CC}">
              <c16:uniqueId val="{00000004-57C8-4EE0-81F8-3A6AADE60462}"/>
            </c:ext>
          </c:extLst>
        </c:ser>
        <c:dLbls>
          <c:showLegendKey val="0"/>
          <c:showVal val="0"/>
          <c:showCatName val="0"/>
          <c:showSerName val="0"/>
          <c:showPercent val="0"/>
          <c:showBubbleSize val="0"/>
        </c:dLbls>
        <c:gapWidth val="182"/>
        <c:axId val="676344616"/>
        <c:axId val="676344288"/>
      </c:barChart>
      <c:catAx>
        <c:axId val="6763446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676344288"/>
        <c:crosses val="autoZero"/>
        <c:auto val="1"/>
        <c:lblAlgn val="ctr"/>
        <c:lblOffset val="100"/>
        <c:noMultiLvlLbl val="0"/>
      </c:catAx>
      <c:valAx>
        <c:axId val="676344288"/>
        <c:scaling>
          <c:orientation val="minMax"/>
          <c:max val="60"/>
        </c:scaling>
        <c:delete val="1"/>
        <c:axPos val="b"/>
        <c:numFmt formatCode="#&quot;%&quot;" sourceLinked="0"/>
        <c:majorTickMark val="none"/>
        <c:minorTickMark val="none"/>
        <c:tickLblPos val="nextTo"/>
        <c:crossAx val="676344616"/>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8314451490122813"/>
          <c:y val="4.2544766663853234E-2"/>
          <c:w val="0.78448135414489462"/>
          <c:h val="0.71087449382255108"/>
        </c:manualLayout>
      </c:layout>
      <c:barChart>
        <c:barDir val="bar"/>
        <c:grouping val="percentStacked"/>
        <c:varyColors val="0"/>
        <c:ser>
          <c:idx val="3"/>
          <c:order val="0"/>
          <c:tx>
            <c:strRef>
              <c:f>Sheet1!$E$1</c:f>
              <c:strCache>
                <c:ptCount val="1"/>
                <c:pt idx="0">
                  <c:v>Aldri</c:v>
                </c:pt>
              </c:strCache>
            </c:strRef>
          </c:tx>
          <c:spPr>
            <a:solidFill>
              <a:srgbClr val="00768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ndre aktiviteter</c:v>
                </c:pt>
                <c:pt idx="1">
                  <c:v>Eksplosjoner</c:v>
                </c:pt>
                <c:pt idx="2">
                  <c:v>Skyting</c:v>
                </c:pt>
                <c:pt idx="3">
                  <c:v>Sirene</c:v>
                </c:pt>
                <c:pt idx="4">
                  <c:v>Helikopter</c:v>
                </c:pt>
              </c:strCache>
            </c:strRef>
          </c:cat>
          <c:val>
            <c:numRef>
              <c:f>Sheet1!$E$2:$E$6</c:f>
              <c:numCache>
                <c:formatCode>General</c:formatCode>
                <c:ptCount val="5"/>
                <c:pt idx="0">
                  <c:v>94</c:v>
                </c:pt>
                <c:pt idx="1">
                  <c:v>92</c:v>
                </c:pt>
                <c:pt idx="2">
                  <c:v>89</c:v>
                </c:pt>
                <c:pt idx="3">
                  <c:v>84</c:v>
                </c:pt>
                <c:pt idx="4">
                  <c:v>4</c:v>
                </c:pt>
              </c:numCache>
            </c:numRef>
          </c:val>
          <c:extLst>
            <c:ext xmlns:c16="http://schemas.microsoft.com/office/drawing/2014/chart" uri="{C3380CC4-5D6E-409C-BE32-E72D297353CC}">
              <c16:uniqueId val="{00000005-6A4F-405B-8684-48C3A1358FBD}"/>
            </c:ext>
          </c:extLst>
        </c:ser>
        <c:ser>
          <c:idx val="2"/>
          <c:order val="1"/>
          <c:tx>
            <c:strRef>
              <c:f>Sheet1!$D$1</c:f>
              <c:strCache>
                <c:ptCount val="1"/>
                <c:pt idx="0">
                  <c:v>Noen ganger i året eller sjeldnere</c:v>
                </c:pt>
              </c:strCache>
            </c:strRef>
          </c:tx>
          <c:spPr>
            <a:solidFill>
              <a:srgbClr val="009D9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ndre aktiviteter</c:v>
                </c:pt>
                <c:pt idx="1">
                  <c:v>Eksplosjoner</c:v>
                </c:pt>
                <c:pt idx="2">
                  <c:v>Skyting</c:v>
                </c:pt>
                <c:pt idx="3">
                  <c:v>Sirene</c:v>
                </c:pt>
                <c:pt idx="4">
                  <c:v>Helikopter</c:v>
                </c:pt>
              </c:strCache>
            </c:strRef>
          </c:cat>
          <c:val>
            <c:numRef>
              <c:f>Sheet1!$D$2:$D$6</c:f>
              <c:numCache>
                <c:formatCode>General</c:formatCode>
                <c:ptCount val="5"/>
                <c:pt idx="0">
                  <c:v>2</c:v>
                </c:pt>
                <c:pt idx="1">
                  <c:v>4</c:v>
                </c:pt>
                <c:pt idx="2">
                  <c:v>7</c:v>
                </c:pt>
                <c:pt idx="3">
                  <c:v>7</c:v>
                </c:pt>
                <c:pt idx="4">
                  <c:v>12</c:v>
                </c:pt>
              </c:numCache>
            </c:numRef>
          </c:val>
          <c:extLst>
            <c:ext xmlns:c16="http://schemas.microsoft.com/office/drawing/2014/chart" uri="{C3380CC4-5D6E-409C-BE32-E72D297353CC}">
              <c16:uniqueId val="{00000004-6A4F-405B-8684-48C3A1358FBD}"/>
            </c:ext>
          </c:extLst>
        </c:ser>
        <c:ser>
          <c:idx val="1"/>
          <c:order val="2"/>
          <c:tx>
            <c:strRef>
              <c:f>Sheet1!$C$1</c:f>
              <c:strCache>
                <c:ptCount val="1"/>
                <c:pt idx="0">
                  <c:v>Månedlig</c:v>
                </c:pt>
              </c:strCache>
            </c:strRef>
          </c:tx>
          <c:spPr>
            <a:solidFill>
              <a:srgbClr val="E6A28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ndre aktiviteter</c:v>
                </c:pt>
                <c:pt idx="1">
                  <c:v>Eksplosjoner</c:v>
                </c:pt>
                <c:pt idx="2">
                  <c:v>Skyting</c:v>
                </c:pt>
                <c:pt idx="3">
                  <c:v>Sirene</c:v>
                </c:pt>
                <c:pt idx="4">
                  <c:v>Helikopter</c:v>
                </c:pt>
              </c:strCache>
            </c:strRef>
          </c:cat>
          <c:val>
            <c:numRef>
              <c:f>Sheet1!$C$2:$C$6</c:f>
              <c:numCache>
                <c:formatCode>General</c:formatCode>
                <c:ptCount val="5"/>
                <c:pt idx="0">
                  <c:v>1</c:v>
                </c:pt>
                <c:pt idx="1">
                  <c:v>1</c:v>
                </c:pt>
                <c:pt idx="2">
                  <c:v>3</c:v>
                </c:pt>
                <c:pt idx="3">
                  <c:v>3</c:v>
                </c:pt>
                <c:pt idx="4">
                  <c:v>14</c:v>
                </c:pt>
              </c:numCache>
            </c:numRef>
          </c:val>
          <c:extLst>
            <c:ext xmlns:c16="http://schemas.microsoft.com/office/drawing/2014/chart" uri="{C3380CC4-5D6E-409C-BE32-E72D297353CC}">
              <c16:uniqueId val="{00000003-6A4F-405B-8684-48C3A1358FBD}"/>
            </c:ext>
          </c:extLst>
        </c:ser>
        <c:ser>
          <c:idx val="0"/>
          <c:order val="3"/>
          <c:tx>
            <c:strRef>
              <c:f>Sheet1!$B$1</c:f>
              <c:strCache>
                <c:ptCount val="1"/>
                <c:pt idx="0">
                  <c:v>Ukentlig eller oftere</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ndre aktiviteter</c:v>
                </c:pt>
                <c:pt idx="1">
                  <c:v>Eksplosjoner</c:v>
                </c:pt>
                <c:pt idx="2">
                  <c:v>Skyting</c:v>
                </c:pt>
                <c:pt idx="3">
                  <c:v>Sirene</c:v>
                </c:pt>
                <c:pt idx="4">
                  <c:v>Helikopter</c:v>
                </c:pt>
              </c:strCache>
            </c:strRef>
          </c:cat>
          <c:val>
            <c:numRef>
              <c:f>Sheet1!$B$2:$B$6</c:f>
              <c:numCache>
                <c:formatCode>General</c:formatCode>
                <c:ptCount val="5"/>
                <c:pt idx="0">
                  <c:v>1</c:v>
                </c:pt>
                <c:pt idx="1">
                  <c:v>1</c:v>
                </c:pt>
                <c:pt idx="2">
                  <c:v>1</c:v>
                </c:pt>
                <c:pt idx="3">
                  <c:v>2</c:v>
                </c:pt>
                <c:pt idx="4">
                  <c:v>69</c:v>
                </c:pt>
              </c:numCache>
            </c:numRef>
          </c:val>
          <c:extLst>
            <c:ext xmlns:c16="http://schemas.microsoft.com/office/drawing/2014/chart" uri="{C3380CC4-5D6E-409C-BE32-E72D297353CC}">
              <c16:uniqueId val="{00000002-6A4F-405B-8684-48C3A1358FBD}"/>
            </c:ext>
          </c:extLst>
        </c:ser>
        <c:ser>
          <c:idx val="4"/>
          <c:order val="4"/>
          <c:tx>
            <c:strRef>
              <c:f>Sheet1!$F$1</c:f>
              <c:strCache>
                <c:ptCount val="1"/>
                <c:pt idx="0">
                  <c:v>Vet ikke</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nb-N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ndre aktiviteter</c:v>
                </c:pt>
                <c:pt idx="1">
                  <c:v>Eksplosjoner</c:v>
                </c:pt>
                <c:pt idx="2">
                  <c:v>Skyting</c:v>
                </c:pt>
                <c:pt idx="3">
                  <c:v>Sirene</c:v>
                </c:pt>
                <c:pt idx="4">
                  <c:v>Helikopter</c:v>
                </c:pt>
              </c:strCache>
            </c:strRef>
          </c:cat>
          <c:val>
            <c:numRef>
              <c:f>Sheet1!$F$2:$F$6</c:f>
              <c:numCache>
                <c:formatCode>General</c:formatCode>
                <c:ptCount val="5"/>
                <c:pt idx="0">
                  <c:v>2</c:v>
                </c:pt>
                <c:pt idx="1">
                  <c:v>1</c:v>
                </c:pt>
                <c:pt idx="2">
                  <c:v>1</c:v>
                </c:pt>
                <c:pt idx="3">
                  <c:v>5</c:v>
                </c:pt>
                <c:pt idx="4">
                  <c:v>1</c:v>
                </c:pt>
              </c:numCache>
            </c:numRef>
          </c:val>
          <c:extLst>
            <c:ext xmlns:c16="http://schemas.microsoft.com/office/drawing/2014/chart" uri="{C3380CC4-5D6E-409C-BE32-E72D297353CC}">
              <c16:uniqueId val="{00000006-6A4F-405B-8684-48C3A1358FBD}"/>
            </c:ext>
          </c:extLst>
        </c:ser>
        <c:dLbls>
          <c:dLblPos val="ctr"/>
          <c:showLegendKey val="0"/>
          <c:showVal val="1"/>
          <c:showCatName val="0"/>
          <c:showSerName val="0"/>
          <c:showPercent val="0"/>
          <c:showBubbleSize val="0"/>
        </c:dLbls>
        <c:gapWidth val="140"/>
        <c:overlap val="100"/>
        <c:axId val="419523816"/>
        <c:axId val="419528080"/>
        <c:extLst/>
      </c:barChart>
      <c:catAx>
        <c:axId val="41952381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nb-NO"/>
          </a:p>
        </c:txPr>
        <c:crossAx val="419528080"/>
        <c:crosses val="autoZero"/>
        <c:auto val="1"/>
        <c:lblAlgn val="ctr"/>
        <c:lblOffset val="100"/>
        <c:noMultiLvlLbl val="0"/>
      </c:catAx>
      <c:valAx>
        <c:axId val="419528080"/>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nb-NO"/>
          </a:p>
        </c:txPr>
        <c:crossAx val="419523816"/>
        <c:crosses val="autoZero"/>
        <c:crossBetween val="between"/>
        <c:majorUnit val="0.2"/>
      </c:valAx>
      <c:spPr>
        <a:noFill/>
        <a:ln>
          <a:noFill/>
        </a:ln>
        <a:effectLst/>
      </c:spPr>
    </c:plotArea>
    <c:legend>
      <c:legendPos val="r"/>
      <c:layout>
        <c:manualLayout>
          <c:xMode val="edge"/>
          <c:yMode val="edge"/>
          <c:x val="7.5764164456705821E-2"/>
          <c:y val="0.77939815551101377"/>
          <c:w val="0.92288950506771517"/>
          <c:h val="0.2204891404665295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nb-NO"/>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
          <c:y val="0"/>
          <c:w val="1"/>
          <c:h val="1"/>
        </c:manualLayout>
      </c:layout>
      <c:barChart>
        <c:barDir val="bar"/>
        <c:grouping val="stacked"/>
        <c:varyColors val="0"/>
        <c:ser>
          <c:idx val="1"/>
          <c:order val="1"/>
          <c:tx>
            <c:strRef>
              <c:f>Sheet1!$A$3</c:f>
              <c:strCache>
                <c:ptCount val="1"/>
                <c:pt idx="0">
                  <c:v>Value 2</c:v>
                </c:pt>
              </c:strCache>
            </c:strRef>
          </c:tx>
          <c:spPr>
            <a:solidFill>
              <a:srgbClr val="4F81BD"/>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3:$K$3</c:f>
              <c:numCache>
                <c:formatCode>0%</c:formatCode>
                <c:ptCount val="10"/>
                <c:pt idx="1">
                  <c:v>0.1</c:v>
                </c:pt>
              </c:numCache>
            </c:numRef>
          </c:val>
          <c:extLst>
            <c:ext xmlns:c16="http://schemas.microsoft.com/office/drawing/2014/chart" uri="{C3380CC4-5D6E-409C-BE32-E72D297353CC}">
              <c16:uniqueId val="{00000000-D276-4F59-A5F4-A81B5FA89E6B}"/>
            </c:ext>
          </c:extLst>
        </c:ser>
        <c:ser>
          <c:idx val="2"/>
          <c:order val="2"/>
          <c:tx>
            <c:strRef>
              <c:f>Sheet1!$A$4</c:f>
              <c:strCache>
                <c:ptCount val="1"/>
                <c:pt idx="0">
                  <c:v>Value 3</c:v>
                </c:pt>
              </c:strCache>
            </c:strRef>
          </c:tx>
          <c:spPr>
            <a:solidFill>
              <a:srgbClr val="4F81BD"/>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4:$K$4</c:f>
              <c:numCache>
                <c:formatCode>General</c:formatCode>
                <c:ptCount val="10"/>
                <c:pt idx="2" formatCode="0%">
                  <c:v>0.1</c:v>
                </c:pt>
              </c:numCache>
            </c:numRef>
          </c:val>
          <c:extLst>
            <c:ext xmlns:c16="http://schemas.microsoft.com/office/drawing/2014/chart" uri="{C3380CC4-5D6E-409C-BE32-E72D297353CC}">
              <c16:uniqueId val="{00000001-D276-4F59-A5F4-A81B5FA89E6B}"/>
            </c:ext>
          </c:extLst>
        </c:ser>
        <c:ser>
          <c:idx val="3"/>
          <c:order val="3"/>
          <c:tx>
            <c:strRef>
              <c:f>Sheet1!$A$5</c:f>
              <c:strCache>
                <c:ptCount val="1"/>
                <c:pt idx="0">
                  <c:v>Value 4</c:v>
                </c:pt>
              </c:strCache>
            </c:strRef>
          </c:tx>
          <c:spPr>
            <a:solidFill>
              <a:srgbClr val="4F81BD"/>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5:$K$5</c:f>
              <c:numCache>
                <c:formatCode>General</c:formatCode>
                <c:ptCount val="10"/>
                <c:pt idx="3" formatCode="0%">
                  <c:v>0.1</c:v>
                </c:pt>
              </c:numCache>
            </c:numRef>
          </c:val>
          <c:extLst>
            <c:ext xmlns:c16="http://schemas.microsoft.com/office/drawing/2014/chart" uri="{C3380CC4-5D6E-409C-BE32-E72D297353CC}">
              <c16:uniqueId val="{00000002-D276-4F59-A5F4-A81B5FA89E6B}"/>
            </c:ext>
          </c:extLst>
        </c:ser>
        <c:ser>
          <c:idx val="4"/>
          <c:order val="4"/>
          <c:tx>
            <c:strRef>
              <c:f>Sheet1!$A$6</c:f>
              <c:strCache>
                <c:ptCount val="1"/>
                <c:pt idx="0">
                  <c:v>Value 5</c:v>
                </c:pt>
              </c:strCache>
            </c:strRef>
          </c:tx>
          <c:spPr>
            <a:solidFill>
              <a:srgbClr val="4F81BD"/>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6:$K$6</c:f>
              <c:numCache>
                <c:formatCode>General</c:formatCode>
                <c:ptCount val="10"/>
                <c:pt idx="4" formatCode="0%">
                  <c:v>0.1</c:v>
                </c:pt>
              </c:numCache>
            </c:numRef>
          </c:val>
          <c:extLst>
            <c:ext xmlns:c16="http://schemas.microsoft.com/office/drawing/2014/chart" uri="{C3380CC4-5D6E-409C-BE32-E72D297353CC}">
              <c16:uniqueId val="{00000003-D276-4F59-A5F4-A81B5FA89E6B}"/>
            </c:ext>
          </c:extLst>
        </c:ser>
        <c:ser>
          <c:idx val="5"/>
          <c:order val="5"/>
          <c:tx>
            <c:strRef>
              <c:f>Sheet1!$A$7</c:f>
              <c:strCache>
                <c:ptCount val="1"/>
                <c:pt idx="0">
                  <c:v>Value 6</c:v>
                </c:pt>
              </c:strCache>
            </c:strRef>
          </c:tx>
          <c:spPr>
            <a:solidFill>
              <a:srgbClr val="4F81BD"/>
            </a:solidFill>
            <a:ln>
              <a:noFill/>
            </a:ln>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7:$K$7</c:f>
              <c:numCache>
                <c:formatCode>General</c:formatCode>
                <c:ptCount val="10"/>
                <c:pt idx="5" formatCode="0%">
                  <c:v>4.0000000000000036E-2</c:v>
                </c:pt>
              </c:numCache>
            </c:numRef>
          </c:val>
          <c:extLst>
            <c:ext xmlns:c16="http://schemas.microsoft.com/office/drawing/2014/chart" uri="{C3380CC4-5D6E-409C-BE32-E72D297353CC}">
              <c16:uniqueId val="{00000004-D276-4F59-A5F4-A81B5FA89E6B}"/>
            </c:ext>
          </c:extLst>
        </c:ser>
        <c:ser>
          <c:idx val="6"/>
          <c:order val="6"/>
          <c:tx>
            <c:strRef>
              <c:f>Sheet1!$A$8</c:f>
              <c:strCache>
                <c:ptCount val="1"/>
                <c:pt idx="0">
                  <c:v>Value 7</c:v>
                </c:pt>
              </c:strCache>
            </c:strRef>
          </c:tx>
          <c:spPr>
            <a:solidFill>
              <a:srgbClr val="4F81BD"/>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8:$K$8</c:f>
              <c:numCache>
                <c:formatCode>General</c:formatCode>
                <c:ptCount val="10"/>
                <c:pt idx="6" formatCode="0%">
                  <c:v>0</c:v>
                </c:pt>
              </c:numCache>
            </c:numRef>
          </c:val>
          <c:extLst>
            <c:ext xmlns:c16="http://schemas.microsoft.com/office/drawing/2014/chart" uri="{C3380CC4-5D6E-409C-BE32-E72D297353CC}">
              <c16:uniqueId val="{00000005-D276-4F59-A5F4-A81B5FA89E6B}"/>
            </c:ext>
          </c:extLst>
        </c:ser>
        <c:ser>
          <c:idx val="7"/>
          <c:order val="7"/>
          <c:tx>
            <c:strRef>
              <c:f>Sheet1!$A$9</c:f>
              <c:strCache>
                <c:ptCount val="1"/>
                <c:pt idx="0">
                  <c:v>Value 8</c:v>
                </c:pt>
              </c:strCache>
            </c:strRef>
          </c:tx>
          <c:spPr>
            <a:solidFill>
              <a:srgbClr val="4F81BD"/>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9:$K$9</c:f>
              <c:numCache>
                <c:formatCode>General</c:formatCode>
                <c:ptCount val="10"/>
                <c:pt idx="7" formatCode="0%">
                  <c:v>0</c:v>
                </c:pt>
              </c:numCache>
            </c:numRef>
          </c:val>
          <c:extLst>
            <c:ext xmlns:c16="http://schemas.microsoft.com/office/drawing/2014/chart" uri="{C3380CC4-5D6E-409C-BE32-E72D297353CC}">
              <c16:uniqueId val="{00000006-D276-4F59-A5F4-A81B5FA89E6B}"/>
            </c:ext>
          </c:extLst>
        </c:ser>
        <c:ser>
          <c:idx val="8"/>
          <c:order val="8"/>
          <c:tx>
            <c:strRef>
              <c:f>Sheet1!$A$10</c:f>
              <c:strCache>
                <c:ptCount val="1"/>
                <c:pt idx="0">
                  <c:v>Value 9</c:v>
                </c:pt>
              </c:strCache>
            </c:strRef>
          </c:tx>
          <c:spPr>
            <a:solidFill>
              <a:srgbClr val="4F81BD"/>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10:$K$10</c:f>
              <c:numCache>
                <c:formatCode>General</c:formatCode>
                <c:ptCount val="10"/>
                <c:pt idx="8" formatCode="0%">
                  <c:v>0</c:v>
                </c:pt>
              </c:numCache>
            </c:numRef>
          </c:val>
          <c:extLst>
            <c:ext xmlns:c16="http://schemas.microsoft.com/office/drawing/2014/chart" uri="{C3380CC4-5D6E-409C-BE32-E72D297353CC}">
              <c16:uniqueId val="{00000007-D276-4F59-A5F4-A81B5FA89E6B}"/>
            </c:ext>
          </c:extLst>
        </c:ser>
        <c:ser>
          <c:idx val="9"/>
          <c:order val="9"/>
          <c:tx>
            <c:strRef>
              <c:f>Sheet1!$A$11</c:f>
              <c:strCache>
                <c:ptCount val="1"/>
                <c:pt idx="0">
                  <c:v>Value 10</c:v>
                </c:pt>
              </c:strCache>
            </c:strRef>
          </c:tx>
          <c:spPr>
            <a:solidFill>
              <a:srgbClr val="4F81BD"/>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11:$K$11</c:f>
              <c:numCache>
                <c:formatCode>General</c:formatCode>
                <c:ptCount val="10"/>
                <c:pt idx="9" formatCode="0%">
                  <c:v>0</c:v>
                </c:pt>
              </c:numCache>
            </c:numRef>
          </c:val>
          <c:extLst>
            <c:ext xmlns:c16="http://schemas.microsoft.com/office/drawing/2014/chart" uri="{C3380CC4-5D6E-409C-BE32-E72D297353CC}">
              <c16:uniqueId val="{00000008-D276-4F59-A5F4-A81B5FA89E6B}"/>
            </c:ext>
          </c:extLst>
        </c:ser>
        <c:ser>
          <c:idx val="0"/>
          <c:order val="0"/>
          <c:tx>
            <c:strRef>
              <c:f>Sheet1!$A$2</c:f>
              <c:strCache>
                <c:ptCount val="1"/>
                <c:pt idx="0">
                  <c:v>Value 1</c:v>
                </c:pt>
              </c:strCache>
            </c:strRef>
          </c:tx>
          <c:spPr>
            <a:solidFill>
              <a:sysClr val="windowText" lastClr="000000">
                <a:lumMod val="75000"/>
                <a:lumOff val="25000"/>
              </a:sysClr>
            </a:solidFill>
          </c:spPr>
          <c:invertIfNegative val="0"/>
          <c:dPt>
            <c:idx val="0"/>
            <c:invertIfNegative val="0"/>
            <c:bubble3D val="0"/>
            <c:spPr>
              <a:solidFill>
                <a:srgbClr val="4F81BD"/>
              </a:solidFill>
            </c:spPr>
            <c:extLst>
              <c:ext xmlns:c16="http://schemas.microsoft.com/office/drawing/2014/chart" uri="{C3380CC4-5D6E-409C-BE32-E72D297353CC}">
                <c16:uniqueId val="{0000000A-D276-4F59-A5F4-A81B5FA89E6B}"/>
              </c:ext>
            </c:extLst>
          </c:dPt>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2:$K$2</c:f>
              <c:numCache>
                <c:formatCode>General</c:formatCode>
                <c:ptCount val="10"/>
                <c:pt idx="0" formatCode="0%">
                  <c:v>0.1</c:v>
                </c:pt>
              </c:numCache>
            </c:numRef>
          </c:val>
          <c:extLst>
            <c:ext xmlns:c16="http://schemas.microsoft.com/office/drawing/2014/chart" uri="{C3380CC4-5D6E-409C-BE32-E72D297353CC}">
              <c16:uniqueId val="{0000000B-D276-4F59-A5F4-A81B5FA89E6B}"/>
            </c:ext>
          </c:extLst>
        </c:ser>
        <c:dLbls>
          <c:showLegendKey val="0"/>
          <c:showVal val="0"/>
          <c:showCatName val="0"/>
          <c:showSerName val="0"/>
          <c:showPercent val="0"/>
          <c:showBubbleSize val="0"/>
        </c:dLbls>
        <c:gapWidth val="0"/>
        <c:overlap val="100"/>
        <c:axId val="34428416"/>
        <c:axId val="34429952"/>
      </c:barChart>
      <c:catAx>
        <c:axId val="34428416"/>
        <c:scaling>
          <c:orientation val="minMax"/>
        </c:scaling>
        <c:delete val="1"/>
        <c:axPos val="l"/>
        <c:numFmt formatCode="General" sourceLinked="0"/>
        <c:majorTickMark val="out"/>
        <c:minorTickMark val="none"/>
        <c:tickLblPos val="nextTo"/>
        <c:crossAx val="34429952"/>
        <c:crosses val="autoZero"/>
        <c:auto val="1"/>
        <c:lblAlgn val="ctr"/>
        <c:lblOffset val="100"/>
        <c:noMultiLvlLbl val="0"/>
      </c:catAx>
      <c:valAx>
        <c:axId val="34429952"/>
        <c:scaling>
          <c:orientation val="minMax"/>
          <c:max val="0.1"/>
          <c:min val="0"/>
        </c:scaling>
        <c:delete val="1"/>
        <c:axPos val="b"/>
        <c:numFmt formatCode="0%" sourceLinked="1"/>
        <c:majorTickMark val="out"/>
        <c:minorTickMark val="none"/>
        <c:tickLblPos val="nextTo"/>
        <c:crossAx val="34428416"/>
        <c:crosses val="autoZero"/>
        <c:crossBetween val="between"/>
      </c:valAx>
      <c:spPr>
        <a:solidFill>
          <a:sysClr val="window" lastClr="FFFFFF">
            <a:lumMod val="75000"/>
          </a:sysClr>
        </a:solidFill>
      </c:spPr>
    </c:plotArea>
    <c:plotVisOnly val="1"/>
    <c:dispBlanksAs val="gap"/>
    <c:showDLblsOverMax val="0"/>
  </c:chart>
  <c:txPr>
    <a:bodyPr/>
    <a:lstStyle/>
    <a:p>
      <a:pPr>
        <a:defRPr sz="1800"/>
      </a:pPr>
      <a:endParaRPr lang="nb-NO"/>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
          <c:y val="0"/>
          <c:w val="1"/>
          <c:h val="1"/>
        </c:manualLayout>
      </c:layout>
      <c:barChart>
        <c:barDir val="bar"/>
        <c:grouping val="stacked"/>
        <c:varyColors val="0"/>
        <c:ser>
          <c:idx val="1"/>
          <c:order val="1"/>
          <c:tx>
            <c:strRef>
              <c:f>Sheet1!$A$3</c:f>
              <c:strCache>
                <c:ptCount val="1"/>
                <c:pt idx="0">
                  <c:v>Value 2</c:v>
                </c:pt>
              </c:strCache>
            </c:strRef>
          </c:tx>
          <c:spPr>
            <a:solidFill>
              <a:srgbClr val="E87722"/>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3:$K$3</c:f>
              <c:numCache>
                <c:formatCode>0%</c:formatCode>
                <c:ptCount val="10"/>
                <c:pt idx="1">
                  <c:v>0</c:v>
                </c:pt>
              </c:numCache>
            </c:numRef>
          </c:val>
          <c:extLst>
            <c:ext xmlns:c16="http://schemas.microsoft.com/office/drawing/2014/chart" uri="{C3380CC4-5D6E-409C-BE32-E72D297353CC}">
              <c16:uniqueId val="{00000000-C201-4628-971B-E086B95F207A}"/>
            </c:ext>
          </c:extLst>
        </c:ser>
        <c:ser>
          <c:idx val="2"/>
          <c:order val="2"/>
          <c:tx>
            <c:strRef>
              <c:f>Sheet1!$A$4</c:f>
              <c:strCache>
                <c:ptCount val="1"/>
                <c:pt idx="0">
                  <c:v>Value 3</c:v>
                </c:pt>
              </c:strCache>
            </c:strRef>
          </c:tx>
          <c:spPr>
            <a:solidFill>
              <a:srgbClr val="E87722"/>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4:$K$4</c:f>
              <c:numCache>
                <c:formatCode>General</c:formatCode>
                <c:ptCount val="10"/>
                <c:pt idx="2" formatCode="0%">
                  <c:v>0</c:v>
                </c:pt>
              </c:numCache>
            </c:numRef>
          </c:val>
          <c:extLst>
            <c:ext xmlns:c16="http://schemas.microsoft.com/office/drawing/2014/chart" uri="{C3380CC4-5D6E-409C-BE32-E72D297353CC}">
              <c16:uniqueId val="{00000001-C201-4628-971B-E086B95F207A}"/>
            </c:ext>
          </c:extLst>
        </c:ser>
        <c:ser>
          <c:idx val="3"/>
          <c:order val="3"/>
          <c:tx>
            <c:strRef>
              <c:f>Sheet1!$A$5</c:f>
              <c:strCache>
                <c:ptCount val="1"/>
                <c:pt idx="0">
                  <c:v>Value 4</c:v>
                </c:pt>
              </c:strCache>
            </c:strRef>
          </c:tx>
          <c:spPr>
            <a:solidFill>
              <a:srgbClr val="E87722"/>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5:$K$5</c:f>
              <c:numCache>
                <c:formatCode>General</c:formatCode>
                <c:ptCount val="10"/>
                <c:pt idx="3" formatCode="0%">
                  <c:v>0</c:v>
                </c:pt>
              </c:numCache>
            </c:numRef>
          </c:val>
          <c:extLst>
            <c:ext xmlns:c16="http://schemas.microsoft.com/office/drawing/2014/chart" uri="{C3380CC4-5D6E-409C-BE32-E72D297353CC}">
              <c16:uniqueId val="{00000002-C201-4628-971B-E086B95F207A}"/>
            </c:ext>
          </c:extLst>
        </c:ser>
        <c:ser>
          <c:idx val="4"/>
          <c:order val="4"/>
          <c:tx>
            <c:strRef>
              <c:f>Sheet1!$A$6</c:f>
              <c:strCache>
                <c:ptCount val="1"/>
                <c:pt idx="0">
                  <c:v>Value 5</c:v>
                </c:pt>
              </c:strCache>
            </c:strRef>
          </c:tx>
          <c:spPr>
            <a:solidFill>
              <a:srgbClr val="E87722"/>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6:$K$6</c:f>
              <c:numCache>
                <c:formatCode>General</c:formatCode>
                <c:ptCount val="10"/>
                <c:pt idx="4" formatCode="0%">
                  <c:v>0</c:v>
                </c:pt>
              </c:numCache>
            </c:numRef>
          </c:val>
          <c:extLst>
            <c:ext xmlns:c16="http://schemas.microsoft.com/office/drawing/2014/chart" uri="{C3380CC4-5D6E-409C-BE32-E72D297353CC}">
              <c16:uniqueId val="{00000003-C201-4628-971B-E086B95F207A}"/>
            </c:ext>
          </c:extLst>
        </c:ser>
        <c:ser>
          <c:idx val="5"/>
          <c:order val="5"/>
          <c:tx>
            <c:strRef>
              <c:f>Sheet1!$A$7</c:f>
              <c:strCache>
                <c:ptCount val="1"/>
                <c:pt idx="0">
                  <c:v>Value 6</c:v>
                </c:pt>
              </c:strCache>
            </c:strRef>
          </c:tx>
          <c:spPr>
            <a:solidFill>
              <a:srgbClr val="E87722"/>
            </a:solidFill>
            <a:ln>
              <a:noFill/>
            </a:ln>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7:$K$7</c:f>
              <c:numCache>
                <c:formatCode>General</c:formatCode>
                <c:ptCount val="10"/>
                <c:pt idx="5" formatCode="0%">
                  <c:v>0</c:v>
                </c:pt>
              </c:numCache>
            </c:numRef>
          </c:val>
          <c:extLst>
            <c:ext xmlns:c16="http://schemas.microsoft.com/office/drawing/2014/chart" uri="{C3380CC4-5D6E-409C-BE32-E72D297353CC}">
              <c16:uniqueId val="{00000004-C201-4628-971B-E086B95F207A}"/>
            </c:ext>
          </c:extLst>
        </c:ser>
        <c:ser>
          <c:idx val="6"/>
          <c:order val="6"/>
          <c:tx>
            <c:strRef>
              <c:f>Sheet1!$A$8</c:f>
              <c:strCache>
                <c:ptCount val="1"/>
                <c:pt idx="0">
                  <c:v>Value 7</c:v>
                </c:pt>
              </c:strCache>
            </c:strRef>
          </c:tx>
          <c:spPr>
            <a:solidFill>
              <a:srgbClr val="E87722"/>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8:$K$8</c:f>
              <c:numCache>
                <c:formatCode>General</c:formatCode>
                <c:ptCount val="10"/>
                <c:pt idx="6" formatCode="0%">
                  <c:v>0</c:v>
                </c:pt>
              </c:numCache>
            </c:numRef>
          </c:val>
          <c:extLst>
            <c:ext xmlns:c16="http://schemas.microsoft.com/office/drawing/2014/chart" uri="{C3380CC4-5D6E-409C-BE32-E72D297353CC}">
              <c16:uniqueId val="{00000005-C201-4628-971B-E086B95F207A}"/>
            </c:ext>
          </c:extLst>
        </c:ser>
        <c:ser>
          <c:idx val="7"/>
          <c:order val="7"/>
          <c:tx>
            <c:strRef>
              <c:f>Sheet1!$A$9</c:f>
              <c:strCache>
                <c:ptCount val="1"/>
                <c:pt idx="0">
                  <c:v>Value 8</c:v>
                </c:pt>
              </c:strCache>
            </c:strRef>
          </c:tx>
          <c:spPr>
            <a:solidFill>
              <a:srgbClr val="E87722"/>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9:$K$9</c:f>
              <c:numCache>
                <c:formatCode>General</c:formatCode>
                <c:ptCount val="10"/>
                <c:pt idx="7" formatCode="0%">
                  <c:v>0</c:v>
                </c:pt>
              </c:numCache>
            </c:numRef>
          </c:val>
          <c:extLst>
            <c:ext xmlns:c16="http://schemas.microsoft.com/office/drawing/2014/chart" uri="{C3380CC4-5D6E-409C-BE32-E72D297353CC}">
              <c16:uniqueId val="{00000006-C201-4628-971B-E086B95F207A}"/>
            </c:ext>
          </c:extLst>
        </c:ser>
        <c:ser>
          <c:idx val="8"/>
          <c:order val="8"/>
          <c:tx>
            <c:strRef>
              <c:f>Sheet1!$A$10</c:f>
              <c:strCache>
                <c:ptCount val="1"/>
                <c:pt idx="0">
                  <c:v>Value 9</c:v>
                </c:pt>
              </c:strCache>
            </c:strRef>
          </c:tx>
          <c:spPr>
            <a:solidFill>
              <a:srgbClr val="E87722"/>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10:$K$10</c:f>
              <c:numCache>
                <c:formatCode>General</c:formatCode>
                <c:ptCount val="10"/>
                <c:pt idx="8" formatCode="0%">
                  <c:v>0</c:v>
                </c:pt>
              </c:numCache>
            </c:numRef>
          </c:val>
          <c:extLst>
            <c:ext xmlns:c16="http://schemas.microsoft.com/office/drawing/2014/chart" uri="{C3380CC4-5D6E-409C-BE32-E72D297353CC}">
              <c16:uniqueId val="{00000007-C201-4628-971B-E086B95F207A}"/>
            </c:ext>
          </c:extLst>
        </c:ser>
        <c:ser>
          <c:idx val="9"/>
          <c:order val="9"/>
          <c:tx>
            <c:strRef>
              <c:f>Sheet1!$A$11</c:f>
              <c:strCache>
                <c:ptCount val="1"/>
                <c:pt idx="0">
                  <c:v>Value 10</c:v>
                </c:pt>
              </c:strCache>
            </c:strRef>
          </c:tx>
          <c:spPr>
            <a:solidFill>
              <a:srgbClr val="E87722"/>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11:$K$11</c:f>
              <c:numCache>
                <c:formatCode>General</c:formatCode>
                <c:ptCount val="10"/>
                <c:pt idx="9" formatCode="0%">
                  <c:v>0</c:v>
                </c:pt>
              </c:numCache>
            </c:numRef>
          </c:val>
          <c:extLst>
            <c:ext xmlns:c16="http://schemas.microsoft.com/office/drawing/2014/chart" uri="{C3380CC4-5D6E-409C-BE32-E72D297353CC}">
              <c16:uniqueId val="{00000008-C201-4628-971B-E086B95F207A}"/>
            </c:ext>
          </c:extLst>
        </c:ser>
        <c:ser>
          <c:idx val="0"/>
          <c:order val="0"/>
          <c:tx>
            <c:strRef>
              <c:f>Sheet1!$A$2</c:f>
              <c:strCache>
                <c:ptCount val="1"/>
                <c:pt idx="0">
                  <c:v>Value 1</c:v>
                </c:pt>
              </c:strCache>
            </c:strRef>
          </c:tx>
          <c:spPr>
            <a:solidFill>
              <a:srgbClr val="E87722"/>
            </a:solidFill>
          </c:spPr>
          <c:invertIfNegative val="0"/>
          <c:dPt>
            <c:idx val="0"/>
            <c:invertIfNegative val="0"/>
            <c:bubble3D val="0"/>
            <c:extLst>
              <c:ext xmlns:c16="http://schemas.microsoft.com/office/drawing/2014/chart" uri="{C3380CC4-5D6E-409C-BE32-E72D297353CC}">
                <c16:uniqueId val="{00000009-C201-4628-971B-E086B95F207A}"/>
              </c:ext>
            </c:extLst>
          </c:dPt>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2:$K$2</c:f>
              <c:numCache>
                <c:formatCode>General</c:formatCode>
                <c:ptCount val="10"/>
                <c:pt idx="0" formatCode="0%">
                  <c:v>0.06</c:v>
                </c:pt>
              </c:numCache>
            </c:numRef>
          </c:val>
          <c:extLst>
            <c:ext xmlns:c16="http://schemas.microsoft.com/office/drawing/2014/chart" uri="{C3380CC4-5D6E-409C-BE32-E72D297353CC}">
              <c16:uniqueId val="{0000000A-C201-4628-971B-E086B95F207A}"/>
            </c:ext>
          </c:extLst>
        </c:ser>
        <c:dLbls>
          <c:showLegendKey val="0"/>
          <c:showVal val="0"/>
          <c:showCatName val="0"/>
          <c:showSerName val="0"/>
          <c:showPercent val="0"/>
          <c:showBubbleSize val="0"/>
        </c:dLbls>
        <c:gapWidth val="0"/>
        <c:overlap val="100"/>
        <c:axId val="126394368"/>
        <c:axId val="126395904"/>
      </c:barChart>
      <c:catAx>
        <c:axId val="126394368"/>
        <c:scaling>
          <c:orientation val="minMax"/>
        </c:scaling>
        <c:delete val="1"/>
        <c:axPos val="l"/>
        <c:numFmt formatCode="General" sourceLinked="0"/>
        <c:majorTickMark val="out"/>
        <c:minorTickMark val="none"/>
        <c:tickLblPos val="nextTo"/>
        <c:crossAx val="126395904"/>
        <c:crosses val="autoZero"/>
        <c:auto val="1"/>
        <c:lblAlgn val="ctr"/>
        <c:lblOffset val="100"/>
        <c:noMultiLvlLbl val="0"/>
      </c:catAx>
      <c:valAx>
        <c:axId val="126395904"/>
        <c:scaling>
          <c:orientation val="minMax"/>
          <c:max val="0.1"/>
          <c:min val="0"/>
        </c:scaling>
        <c:delete val="1"/>
        <c:axPos val="b"/>
        <c:numFmt formatCode="0%" sourceLinked="1"/>
        <c:majorTickMark val="out"/>
        <c:minorTickMark val="none"/>
        <c:tickLblPos val="nextTo"/>
        <c:crossAx val="126394368"/>
        <c:crosses val="autoZero"/>
        <c:crossBetween val="between"/>
      </c:valAx>
      <c:spPr>
        <a:solidFill>
          <a:sysClr val="window" lastClr="FFFFFF">
            <a:lumMod val="75000"/>
          </a:sysClr>
        </a:solidFill>
      </c:spPr>
    </c:plotArea>
    <c:plotVisOnly val="1"/>
    <c:dispBlanksAs val="gap"/>
    <c:showDLblsOverMax val="0"/>
  </c:chart>
  <c:txPr>
    <a:bodyPr/>
    <a:lstStyle/>
    <a:p>
      <a:pPr>
        <a:defRPr sz="1800"/>
      </a:pPr>
      <a:endParaRPr lang="nb-NO"/>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
          <c:y val="0"/>
          <c:w val="1"/>
          <c:h val="1"/>
        </c:manualLayout>
      </c:layout>
      <c:barChart>
        <c:barDir val="bar"/>
        <c:grouping val="stacked"/>
        <c:varyColors val="0"/>
        <c:ser>
          <c:idx val="1"/>
          <c:order val="1"/>
          <c:tx>
            <c:strRef>
              <c:f>Sheet1!$A$3</c:f>
              <c:strCache>
                <c:ptCount val="1"/>
                <c:pt idx="0">
                  <c:v>Value 2</c:v>
                </c:pt>
              </c:strCache>
            </c:strRef>
          </c:tx>
          <c:spPr>
            <a:solidFill>
              <a:srgbClr val="F1BE48"/>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3:$K$3</c:f>
              <c:numCache>
                <c:formatCode>0%</c:formatCode>
                <c:ptCount val="10"/>
                <c:pt idx="1">
                  <c:v>0.1</c:v>
                </c:pt>
              </c:numCache>
            </c:numRef>
          </c:val>
          <c:extLst>
            <c:ext xmlns:c16="http://schemas.microsoft.com/office/drawing/2014/chart" uri="{C3380CC4-5D6E-409C-BE32-E72D297353CC}">
              <c16:uniqueId val="{00000000-D72F-47D8-91BB-D3ED1556E529}"/>
            </c:ext>
          </c:extLst>
        </c:ser>
        <c:ser>
          <c:idx val="2"/>
          <c:order val="2"/>
          <c:tx>
            <c:strRef>
              <c:f>Sheet1!$A$4</c:f>
              <c:strCache>
                <c:ptCount val="1"/>
                <c:pt idx="0">
                  <c:v>Value 3</c:v>
                </c:pt>
              </c:strCache>
            </c:strRef>
          </c:tx>
          <c:spPr>
            <a:solidFill>
              <a:srgbClr val="F1BE48"/>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4:$K$4</c:f>
              <c:numCache>
                <c:formatCode>General</c:formatCode>
                <c:ptCount val="10"/>
                <c:pt idx="2" formatCode="0%">
                  <c:v>0.1</c:v>
                </c:pt>
              </c:numCache>
            </c:numRef>
          </c:val>
          <c:extLst>
            <c:ext xmlns:c16="http://schemas.microsoft.com/office/drawing/2014/chart" uri="{C3380CC4-5D6E-409C-BE32-E72D297353CC}">
              <c16:uniqueId val="{00000001-D72F-47D8-91BB-D3ED1556E529}"/>
            </c:ext>
          </c:extLst>
        </c:ser>
        <c:ser>
          <c:idx val="3"/>
          <c:order val="3"/>
          <c:tx>
            <c:strRef>
              <c:f>Sheet1!$A$5</c:f>
              <c:strCache>
                <c:ptCount val="1"/>
                <c:pt idx="0">
                  <c:v>Value 4</c:v>
                </c:pt>
              </c:strCache>
            </c:strRef>
          </c:tx>
          <c:spPr>
            <a:solidFill>
              <a:srgbClr val="F1BE48"/>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5:$K$5</c:f>
              <c:numCache>
                <c:formatCode>General</c:formatCode>
                <c:ptCount val="10"/>
                <c:pt idx="3" formatCode="0%">
                  <c:v>0.1</c:v>
                </c:pt>
              </c:numCache>
            </c:numRef>
          </c:val>
          <c:extLst>
            <c:ext xmlns:c16="http://schemas.microsoft.com/office/drawing/2014/chart" uri="{C3380CC4-5D6E-409C-BE32-E72D297353CC}">
              <c16:uniqueId val="{00000002-D72F-47D8-91BB-D3ED1556E529}"/>
            </c:ext>
          </c:extLst>
        </c:ser>
        <c:ser>
          <c:idx val="4"/>
          <c:order val="4"/>
          <c:tx>
            <c:strRef>
              <c:f>Sheet1!$A$6</c:f>
              <c:strCache>
                <c:ptCount val="1"/>
                <c:pt idx="0">
                  <c:v>Value 5</c:v>
                </c:pt>
              </c:strCache>
            </c:strRef>
          </c:tx>
          <c:spPr>
            <a:solidFill>
              <a:srgbClr val="F1BE48"/>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6:$K$6</c:f>
              <c:numCache>
                <c:formatCode>General</c:formatCode>
                <c:ptCount val="10"/>
                <c:pt idx="4" formatCode="0%">
                  <c:v>0.1</c:v>
                </c:pt>
              </c:numCache>
            </c:numRef>
          </c:val>
          <c:extLst>
            <c:ext xmlns:c16="http://schemas.microsoft.com/office/drawing/2014/chart" uri="{C3380CC4-5D6E-409C-BE32-E72D297353CC}">
              <c16:uniqueId val="{00000003-D72F-47D8-91BB-D3ED1556E529}"/>
            </c:ext>
          </c:extLst>
        </c:ser>
        <c:ser>
          <c:idx val="5"/>
          <c:order val="5"/>
          <c:tx>
            <c:strRef>
              <c:f>Sheet1!$A$7</c:f>
              <c:strCache>
                <c:ptCount val="1"/>
                <c:pt idx="0">
                  <c:v>Value 6</c:v>
                </c:pt>
              </c:strCache>
            </c:strRef>
          </c:tx>
          <c:spPr>
            <a:solidFill>
              <a:srgbClr val="F1BE48"/>
            </a:solidFill>
            <a:ln>
              <a:noFill/>
            </a:ln>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7:$K$7</c:f>
              <c:numCache>
                <c:formatCode>General</c:formatCode>
                <c:ptCount val="10"/>
                <c:pt idx="5" formatCode="0%">
                  <c:v>0.1</c:v>
                </c:pt>
              </c:numCache>
            </c:numRef>
          </c:val>
          <c:extLst>
            <c:ext xmlns:c16="http://schemas.microsoft.com/office/drawing/2014/chart" uri="{C3380CC4-5D6E-409C-BE32-E72D297353CC}">
              <c16:uniqueId val="{00000004-D72F-47D8-91BB-D3ED1556E529}"/>
            </c:ext>
          </c:extLst>
        </c:ser>
        <c:ser>
          <c:idx val="6"/>
          <c:order val="6"/>
          <c:tx>
            <c:strRef>
              <c:f>Sheet1!$A$8</c:f>
              <c:strCache>
                <c:ptCount val="1"/>
                <c:pt idx="0">
                  <c:v>Value 7</c:v>
                </c:pt>
              </c:strCache>
            </c:strRef>
          </c:tx>
          <c:spPr>
            <a:solidFill>
              <a:srgbClr val="F1BE48"/>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8:$K$8</c:f>
              <c:numCache>
                <c:formatCode>General</c:formatCode>
                <c:ptCount val="10"/>
                <c:pt idx="6" formatCode="0%">
                  <c:v>0.1</c:v>
                </c:pt>
              </c:numCache>
            </c:numRef>
          </c:val>
          <c:extLst>
            <c:ext xmlns:c16="http://schemas.microsoft.com/office/drawing/2014/chart" uri="{C3380CC4-5D6E-409C-BE32-E72D297353CC}">
              <c16:uniqueId val="{00000005-D72F-47D8-91BB-D3ED1556E529}"/>
            </c:ext>
          </c:extLst>
        </c:ser>
        <c:ser>
          <c:idx val="7"/>
          <c:order val="7"/>
          <c:tx>
            <c:strRef>
              <c:f>Sheet1!$A$9</c:f>
              <c:strCache>
                <c:ptCount val="1"/>
                <c:pt idx="0">
                  <c:v>Value 8</c:v>
                </c:pt>
              </c:strCache>
            </c:strRef>
          </c:tx>
          <c:spPr>
            <a:solidFill>
              <a:srgbClr val="F1BE48"/>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9:$K$9</c:f>
              <c:numCache>
                <c:formatCode>General</c:formatCode>
                <c:ptCount val="10"/>
                <c:pt idx="7" formatCode="0%">
                  <c:v>1.0000000000000009E-2</c:v>
                </c:pt>
              </c:numCache>
            </c:numRef>
          </c:val>
          <c:extLst>
            <c:ext xmlns:c16="http://schemas.microsoft.com/office/drawing/2014/chart" uri="{C3380CC4-5D6E-409C-BE32-E72D297353CC}">
              <c16:uniqueId val="{00000006-D72F-47D8-91BB-D3ED1556E529}"/>
            </c:ext>
          </c:extLst>
        </c:ser>
        <c:ser>
          <c:idx val="8"/>
          <c:order val="8"/>
          <c:tx>
            <c:strRef>
              <c:f>Sheet1!$A$10</c:f>
              <c:strCache>
                <c:ptCount val="1"/>
                <c:pt idx="0">
                  <c:v>Value 9</c:v>
                </c:pt>
              </c:strCache>
            </c:strRef>
          </c:tx>
          <c:spPr>
            <a:solidFill>
              <a:srgbClr val="F1BE48"/>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10:$K$10</c:f>
              <c:numCache>
                <c:formatCode>General</c:formatCode>
                <c:ptCount val="10"/>
                <c:pt idx="8" formatCode="0%">
                  <c:v>0</c:v>
                </c:pt>
              </c:numCache>
            </c:numRef>
          </c:val>
          <c:extLst>
            <c:ext xmlns:c16="http://schemas.microsoft.com/office/drawing/2014/chart" uri="{C3380CC4-5D6E-409C-BE32-E72D297353CC}">
              <c16:uniqueId val="{00000007-D72F-47D8-91BB-D3ED1556E529}"/>
            </c:ext>
          </c:extLst>
        </c:ser>
        <c:ser>
          <c:idx val="9"/>
          <c:order val="9"/>
          <c:tx>
            <c:strRef>
              <c:f>Sheet1!$A$11</c:f>
              <c:strCache>
                <c:ptCount val="1"/>
                <c:pt idx="0">
                  <c:v>Value 10</c:v>
                </c:pt>
              </c:strCache>
            </c:strRef>
          </c:tx>
          <c:spPr>
            <a:solidFill>
              <a:srgbClr val="F1BE48"/>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11:$K$11</c:f>
              <c:numCache>
                <c:formatCode>General</c:formatCode>
                <c:ptCount val="10"/>
                <c:pt idx="9" formatCode="0%">
                  <c:v>0</c:v>
                </c:pt>
              </c:numCache>
            </c:numRef>
          </c:val>
          <c:extLst>
            <c:ext xmlns:c16="http://schemas.microsoft.com/office/drawing/2014/chart" uri="{C3380CC4-5D6E-409C-BE32-E72D297353CC}">
              <c16:uniqueId val="{00000008-D72F-47D8-91BB-D3ED1556E529}"/>
            </c:ext>
          </c:extLst>
        </c:ser>
        <c:ser>
          <c:idx val="0"/>
          <c:order val="0"/>
          <c:tx>
            <c:strRef>
              <c:f>Sheet1!$A$2</c:f>
              <c:strCache>
                <c:ptCount val="1"/>
                <c:pt idx="0">
                  <c:v>Value 1</c:v>
                </c:pt>
              </c:strCache>
            </c:strRef>
          </c:tx>
          <c:spPr>
            <a:solidFill>
              <a:srgbClr val="F1BE48"/>
            </a:solidFill>
          </c:spPr>
          <c:invertIfNegative val="0"/>
          <c:dPt>
            <c:idx val="0"/>
            <c:invertIfNegative val="0"/>
            <c:bubble3D val="0"/>
            <c:extLst>
              <c:ext xmlns:c16="http://schemas.microsoft.com/office/drawing/2014/chart" uri="{C3380CC4-5D6E-409C-BE32-E72D297353CC}">
                <c16:uniqueId val="{00000009-D72F-47D8-91BB-D3ED1556E529}"/>
              </c:ext>
            </c:extLst>
          </c:dPt>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2:$K$2</c:f>
              <c:numCache>
                <c:formatCode>General</c:formatCode>
                <c:ptCount val="10"/>
                <c:pt idx="0" formatCode="0%">
                  <c:v>0.1</c:v>
                </c:pt>
              </c:numCache>
            </c:numRef>
          </c:val>
          <c:extLst>
            <c:ext xmlns:c16="http://schemas.microsoft.com/office/drawing/2014/chart" uri="{C3380CC4-5D6E-409C-BE32-E72D297353CC}">
              <c16:uniqueId val="{0000000A-D72F-47D8-91BB-D3ED1556E529}"/>
            </c:ext>
          </c:extLst>
        </c:ser>
        <c:dLbls>
          <c:showLegendKey val="0"/>
          <c:showVal val="0"/>
          <c:showCatName val="0"/>
          <c:showSerName val="0"/>
          <c:showPercent val="0"/>
          <c:showBubbleSize val="0"/>
        </c:dLbls>
        <c:gapWidth val="0"/>
        <c:overlap val="100"/>
        <c:axId val="126794368"/>
        <c:axId val="126804352"/>
      </c:barChart>
      <c:catAx>
        <c:axId val="126794368"/>
        <c:scaling>
          <c:orientation val="minMax"/>
        </c:scaling>
        <c:delete val="1"/>
        <c:axPos val="l"/>
        <c:numFmt formatCode="General" sourceLinked="0"/>
        <c:majorTickMark val="out"/>
        <c:minorTickMark val="none"/>
        <c:tickLblPos val="nextTo"/>
        <c:crossAx val="126804352"/>
        <c:crosses val="autoZero"/>
        <c:auto val="1"/>
        <c:lblAlgn val="ctr"/>
        <c:lblOffset val="100"/>
        <c:noMultiLvlLbl val="0"/>
      </c:catAx>
      <c:valAx>
        <c:axId val="126804352"/>
        <c:scaling>
          <c:orientation val="minMax"/>
          <c:max val="0.1"/>
          <c:min val="0"/>
        </c:scaling>
        <c:delete val="1"/>
        <c:axPos val="b"/>
        <c:numFmt formatCode="0%" sourceLinked="1"/>
        <c:majorTickMark val="out"/>
        <c:minorTickMark val="none"/>
        <c:tickLblPos val="nextTo"/>
        <c:crossAx val="126794368"/>
        <c:crosses val="autoZero"/>
        <c:crossBetween val="between"/>
      </c:valAx>
      <c:spPr>
        <a:solidFill>
          <a:sysClr val="window" lastClr="FFFFFF">
            <a:lumMod val="75000"/>
          </a:sysClr>
        </a:solidFill>
      </c:spPr>
    </c:plotArea>
    <c:plotVisOnly val="1"/>
    <c:dispBlanksAs val="gap"/>
    <c:showDLblsOverMax val="0"/>
  </c:chart>
  <c:txPr>
    <a:bodyPr/>
    <a:lstStyle/>
    <a:p>
      <a:pPr>
        <a:defRPr sz="1800"/>
      </a:pPr>
      <a:endParaRPr lang="nb-NO"/>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
          <c:y val="0"/>
          <c:w val="1"/>
          <c:h val="1"/>
        </c:manualLayout>
      </c:layout>
      <c:barChart>
        <c:barDir val="bar"/>
        <c:grouping val="stacked"/>
        <c:varyColors val="0"/>
        <c:ser>
          <c:idx val="1"/>
          <c:order val="1"/>
          <c:tx>
            <c:strRef>
              <c:f>Sheet1!$A$3</c:f>
              <c:strCache>
                <c:ptCount val="1"/>
                <c:pt idx="0">
                  <c:v>Value 2</c:v>
                </c:pt>
              </c:strCache>
            </c:strRef>
          </c:tx>
          <c:spPr>
            <a:solidFill>
              <a:srgbClr val="B7BF12"/>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3:$K$3</c:f>
              <c:numCache>
                <c:formatCode>0%</c:formatCode>
                <c:ptCount val="10"/>
                <c:pt idx="1">
                  <c:v>7.9999999999999988E-2</c:v>
                </c:pt>
              </c:numCache>
            </c:numRef>
          </c:val>
          <c:extLst>
            <c:ext xmlns:c16="http://schemas.microsoft.com/office/drawing/2014/chart" uri="{C3380CC4-5D6E-409C-BE32-E72D297353CC}">
              <c16:uniqueId val="{00000000-13D7-4725-B302-6202259CFB14}"/>
            </c:ext>
          </c:extLst>
        </c:ser>
        <c:ser>
          <c:idx val="2"/>
          <c:order val="2"/>
          <c:tx>
            <c:strRef>
              <c:f>Sheet1!$A$4</c:f>
              <c:strCache>
                <c:ptCount val="1"/>
                <c:pt idx="0">
                  <c:v>Value 3</c:v>
                </c:pt>
              </c:strCache>
            </c:strRef>
          </c:tx>
          <c:spPr>
            <a:solidFill>
              <a:srgbClr val="B7BF12"/>
            </a:solidFill>
            <a:ln>
              <a:solidFill>
                <a:sysClr val="window" lastClr="FFFFFF"/>
              </a:solidFill>
            </a:ln>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4:$K$4</c:f>
              <c:numCache>
                <c:formatCode>General</c:formatCode>
                <c:ptCount val="10"/>
                <c:pt idx="2" formatCode="0%">
                  <c:v>0</c:v>
                </c:pt>
              </c:numCache>
            </c:numRef>
          </c:val>
          <c:extLst>
            <c:ext xmlns:c16="http://schemas.microsoft.com/office/drawing/2014/chart" uri="{C3380CC4-5D6E-409C-BE32-E72D297353CC}">
              <c16:uniqueId val="{00000001-13D7-4725-B302-6202259CFB14}"/>
            </c:ext>
          </c:extLst>
        </c:ser>
        <c:ser>
          <c:idx val="3"/>
          <c:order val="3"/>
          <c:tx>
            <c:strRef>
              <c:f>Sheet1!$A$5</c:f>
              <c:strCache>
                <c:ptCount val="1"/>
                <c:pt idx="0">
                  <c:v>Value 4</c:v>
                </c:pt>
              </c:strCache>
            </c:strRef>
          </c:tx>
          <c:spPr>
            <a:solidFill>
              <a:srgbClr val="B7BF12"/>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5:$K$5</c:f>
              <c:numCache>
                <c:formatCode>General</c:formatCode>
                <c:ptCount val="10"/>
                <c:pt idx="3" formatCode="0%">
                  <c:v>0</c:v>
                </c:pt>
              </c:numCache>
            </c:numRef>
          </c:val>
          <c:extLst>
            <c:ext xmlns:c16="http://schemas.microsoft.com/office/drawing/2014/chart" uri="{C3380CC4-5D6E-409C-BE32-E72D297353CC}">
              <c16:uniqueId val="{00000002-13D7-4725-B302-6202259CFB14}"/>
            </c:ext>
          </c:extLst>
        </c:ser>
        <c:ser>
          <c:idx val="4"/>
          <c:order val="4"/>
          <c:tx>
            <c:strRef>
              <c:f>Sheet1!$A$6</c:f>
              <c:strCache>
                <c:ptCount val="1"/>
                <c:pt idx="0">
                  <c:v>Value 5</c:v>
                </c:pt>
              </c:strCache>
            </c:strRef>
          </c:tx>
          <c:spPr>
            <a:solidFill>
              <a:srgbClr val="B7BF12"/>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6:$K$6</c:f>
              <c:numCache>
                <c:formatCode>General</c:formatCode>
                <c:ptCount val="10"/>
                <c:pt idx="4" formatCode="0%">
                  <c:v>0</c:v>
                </c:pt>
              </c:numCache>
            </c:numRef>
          </c:val>
          <c:extLst>
            <c:ext xmlns:c16="http://schemas.microsoft.com/office/drawing/2014/chart" uri="{C3380CC4-5D6E-409C-BE32-E72D297353CC}">
              <c16:uniqueId val="{00000003-13D7-4725-B302-6202259CFB14}"/>
            </c:ext>
          </c:extLst>
        </c:ser>
        <c:ser>
          <c:idx val="5"/>
          <c:order val="5"/>
          <c:tx>
            <c:strRef>
              <c:f>Sheet1!$A$7</c:f>
              <c:strCache>
                <c:ptCount val="1"/>
                <c:pt idx="0">
                  <c:v>Value 6</c:v>
                </c:pt>
              </c:strCache>
            </c:strRef>
          </c:tx>
          <c:spPr>
            <a:solidFill>
              <a:srgbClr val="B7BF12"/>
            </a:solidFill>
            <a:ln>
              <a:noFill/>
            </a:ln>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7:$K$7</c:f>
              <c:numCache>
                <c:formatCode>General</c:formatCode>
                <c:ptCount val="10"/>
                <c:pt idx="5" formatCode="0%">
                  <c:v>0</c:v>
                </c:pt>
              </c:numCache>
            </c:numRef>
          </c:val>
          <c:extLst>
            <c:ext xmlns:c16="http://schemas.microsoft.com/office/drawing/2014/chart" uri="{C3380CC4-5D6E-409C-BE32-E72D297353CC}">
              <c16:uniqueId val="{00000004-13D7-4725-B302-6202259CFB14}"/>
            </c:ext>
          </c:extLst>
        </c:ser>
        <c:ser>
          <c:idx val="6"/>
          <c:order val="6"/>
          <c:tx>
            <c:strRef>
              <c:f>Sheet1!$A$8</c:f>
              <c:strCache>
                <c:ptCount val="1"/>
                <c:pt idx="0">
                  <c:v>Value 7</c:v>
                </c:pt>
              </c:strCache>
            </c:strRef>
          </c:tx>
          <c:spPr>
            <a:solidFill>
              <a:srgbClr val="B7BF12"/>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8:$K$8</c:f>
              <c:numCache>
                <c:formatCode>General</c:formatCode>
                <c:ptCount val="10"/>
                <c:pt idx="6" formatCode="0%">
                  <c:v>0</c:v>
                </c:pt>
              </c:numCache>
            </c:numRef>
          </c:val>
          <c:extLst>
            <c:ext xmlns:c16="http://schemas.microsoft.com/office/drawing/2014/chart" uri="{C3380CC4-5D6E-409C-BE32-E72D297353CC}">
              <c16:uniqueId val="{00000005-13D7-4725-B302-6202259CFB14}"/>
            </c:ext>
          </c:extLst>
        </c:ser>
        <c:ser>
          <c:idx val="7"/>
          <c:order val="7"/>
          <c:tx>
            <c:strRef>
              <c:f>Sheet1!$A$9</c:f>
              <c:strCache>
                <c:ptCount val="1"/>
                <c:pt idx="0">
                  <c:v>Value 8</c:v>
                </c:pt>
              </c:strCache>
            </c:strRef>
          </c:tx>
          <c:spPr>
            <a:solidFill>
              <a:srgbClr val="B7BF12"/>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9:$K$9</c:f>
              <c:numCache>
                <c:formatCode>General</c:formatCode>
                <c:ptCount val="10"/>
                <c:pt idx="7" formatCode="0%">
                  <c:v>0</c:v>
                </c:pt>
              </c:numCache>
            </c:numRef>
          </c:val>
          <c:extLst>
            <c:ext xmlns:c16="http://schemas.microsoft.com/office/drawing/2014/chart" uri="{C3380CC4-5D6E-409C-BE32-E72D297353CC}">
              <c16:uniqueId val="{00000006-13D7-4725-B302-6202259CFB14}"/>
            </c:ext>
          </c:extLst>
        </c:ser>
        <c:ser>
          <c:idx val="8"/>
          <c:order val="8"/>
          <c:tx>
            <c:strRef>
              <c:f>Sheet1!$A$10</c:f>
              <c:strCache>
                <c:ptCount val="1"/>
                <c:pt idx="0">
                  <c:v>Value 9</c:v>
                </c:pt>
              </c:strCache>
            </c:strRef>
          </c:tx>
          <c:spPr>
            <a:solidFill>
              <a:srgbClr val="B7BF12"/>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10:$K$10</c:f>
              <c:numCache>
                <c:formatCode>General</c:formatCode>
                <c:ptCount val="10"/>
                <c:pt idx="8" formatCode="0%">
                  <c:v>0</c:v>
                </c:pt>
              </c:numCache>
            </c:numRef>
          </c:val>
          <c:extLst>
            <c:ext xmlns:c16="http://schemas.microsoft.com/office/drawing/2014/chart" uri="{C3380CC4-5D6E-409C-BE32-E72D297353CC}">
              <c16:uniqueId val="{00000007-13D7-4725-B302-6202259CFB14}"/>
            </c:ext>
          </c:extLst>
        </c:ser>
        <c:ser>
          <c:idx val="9"/>
          <c:order val="9"/>
          <c:tx>
            <c:strRef>
              <c:f>Sheet1!$A$11</c:f>
              <c:strCache>
                <c:ptCount val="1"/>
                <c:pt idx="0">
                  <c:v>Value 10</c:v>
                </c:pt>
              </c:strCache>
            </c:strRef>
          </c:tx>
          <c:spPr>
            <a:solidFill>
              <a:srgbClr val="B7BF12"/>
            </a:solidFill>
          </c:spPr>
          <c:invertIfNegative val="0"/>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11:$K$11</c:f>
              <c:numCache>
                <c:formatCode>General</c:formatCode>
                <c:ptCount val="10"/>
                <c:pt idx="9" formatCode="0%">
                  <c:v>0</c:v>
                </c:pt>
              </c:numCache>
            </c:numRef>
          </c:val>
          <c:extLst>
            <c:ext xmlns:c16="http://schemas.microsoft.com/office/drawing/2014/chart" uri="{C3380CC4-5D6E-409C-BE32-E72D297353CC}">
              <c16:uniqueId val="{00000008-13D7-4725-B302-6202259CFB14}"/>
            </c:ext>
          </c:extLst>
        </c:ser>
        <c:ser>
          <c:idx val="0"/>
          <c:order val="0"/>
          <c:tx>
            <c:strRef>
              <c:f>Sheet1!$A$2</c:f>
              <c:strCache>
                <c:ptCount val="1"/>
                <c:pt idx="0">
                  <c:v>Value 1</c:v>
                </c:pt>
              </c:strCache>
            </c:strRef>
          </c:tx>
          <c:spPr>
            <a:solidFill>
              <a:srgbClr val="B7BF12"/>
            </a:solidFill>
          </c:spPr>
          <c:invertIfNegative val="0"/>
          <c:dPt>
            <c:idx val="0"/>
            <c:invertIfNegative val="0"/>
            <c:bubble3D val="0"/>
            <c:extLst>
              <c:ext xmlns:c16="http://schemas.microsoft.com/office/drawing/2014/chart" uri="{C3380CC4-5D6E-409C-BE32-E72D297353CC}">
                <c16:uniqueId val="{00000009-13D7-4725-B302-6202259CFB14}"/>
              </c:ext>
            </c:extLst>
          </c:dPt>
          <c:cat>
            <c:strRef>
              <c:f>Sheet1!$B$1:$K$1</c:f>
              <c:strCache>
                <c:ptCount val="10"/>
                <c:pt idx="0">
                  <c:v>C1</c:v>
                </c:pt>
                <c:pt idx="1">
                  <c:v>C2</c:v>
                </c:pt>
                <c:pt idx="2">
                  <c:v>C3</c:v>
                </c:pt>
                <c:pt idx="3">
                  <c:v>C4</c:v>
                </c:pt>
                <c:pt idx="4">
                  <c:v>C5</c:v>
                </c:pt>
                <c:pt idx="5">
                  <c:v>C6</c:v>
                </c:pt>
                <c:pt idx="6">
                  <c:v>C7</c:v>
                </c:pt>
                <c:pt idx="7">
                  <c:v>C8</c:v>
                </c:pt>
                <c:pt idx="8">
                  <c:v>C9</c:v>
                </c:pt>
                <c:pt idx="9">
                  <c:v>C10</c:v>
                </c:pt>
              </c:strCache>
            </c:strRef>
          </c:cat>
          <c:val>
            <c:numRef>
              <c:f>Sheet1!$B$2:$K$2</c:f>
              <c:numCache>
                <c:formatCode>General</c:formatCode>
                <c:ptCount val="10"/>
                <c:pt idx="0" formatCode="0%">
                  <c:v>0.1</c:v>
                </c:pt>
              </c:numCache>
            </c:numRef>
          </c:val>
          <c:extLst>
            <c:ext xmlns:c16="http://schemas.microsoft.com/office/drawing/2014/chart" uri="{C3380CC4-5D6E-409C-BE32-E72D297353CC}">
              <c16:uniqueId val="{0000000A-13D7-4725-B302-6202259CFB14}"/>
            </c:ext>
          </c:extLst>
        </c:ser>
        <c:dLbls>
          <c:showLegendKey val="0"/>
          <c:showVal val="0"/>
          <c:showCatName val="0"/>
          <c:showSerName val="0"/>
          <c:showPercent val="0"/>
          <c:showBubbleSize val="0"/>
        </c:dLbls>
        <c:gapWidth val="0"/>
        <c:overlap val="100"/>
        <c:axId val="126503552"/>
        <c:axId val="126517632"/>
      </c:barChart>
      <c:catAx>
        <c:axId val="126503552"/>
        <c:scaling>
          <c:orientation val="minMax"/>
        </c:scaling>
        <c:delete val="1"/>
        <c:axPos val="l"/>
        <c:numFmt formatCode="General" sourceLinked="0"/>
        <c:majorTickMark val="out"/>
        <c:minorTickMark val="none"/>
        <c:tickLblPos val="nextTo"/>
        <c:crossAx val="126517632"/>
        <c:crosses val="autoZero"/>
        <c:auto val="1"/>
        <c:lblAlgn val="ctr"/>
        <c:lblOffset val="100"/>
        <c:noMultiLvlLbl val="0"/>
      </c:catAx>
      <c:valAx>
        <c:axId val="126517632"/>
        <c:scaling>
          <c:orientation val="minMax"/>
          <c:max val="0.1"/>
          <c:min val="0"/>
        </c:scaling>
        <c:delete val="1"/>
        <c:axPos val="b"/>
        <c:numFmt formatCode="0%" sourceLinked="1"/>
        <c:majorTickMark val="out"/>
        <c:minorTickMark val="none"/>
        <c:tickLblPos val="nextTo"/>
        <c:crossAx val="126503552"/>
        <c:crosses val="autoZero"/>
        <c:crossBetween val="between"/>
      </c:valAx>
      <c:spPr>
        <a:solidFill>
          <a:sysClr val="window" lastClr="FFFFFF">
            <a:lumMod val="75000"/>
          </a:sysClr>
        </a:solidFill>
      </c:spPr>
    </c:plotArea>
    <c:plotVisOnly val="1"/>
    <c:dispBlanksAs val="gap"/>
    <c:showDLblsOverMax val="0"/>
  </c:chart>
  <c:txPr>
    <a:bodyPr/>
    <a:lstStyle/>
    <a:p>
      <a:pPr>
        <a:defRPr sz="1800"/>
      </a:pPr>
      <a:endParaRPr lang="nb-NO"/>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cdr:x>
      <cdr:y>0.33751</cdr:y>
    </cdr:from>
    <cdr:to>
      <cdr:x>1</cdr:x>
      <cdr:y>0.58928</cdr:y>
    </cdr:to>
    <cdr:sp macro="" textlink="">
      <cdr:nvSpPr>
        <cdr:cNvPr id="2" name="Rectangle 11">
          <a:extLst xmlns:a="http://schemas.openxmlformats.org/drawingml/2006/main">
            <a:ext uri="{FF2B5EF4-FFF2-40B4-BE49-F238E27FC236}">
              <a16:creationId xmlns:a16="http://schemas.microsoft.com/office/drawing/2014/main" id="{15BBEF3C-3311-4EB1-87DF-6959BF62AC88}"/>
            </a:ext>
          </a:extLst>
        </cdr:cNvPr>
        <cdr:cNvSpPr/>
      </cdr:nvSpPr>
      <cdr:spPr>
        <a:xfrm xmlns:a="http://schemas.openxmlformats.org/drawingml/2006/main">
          <a:off x="0" y="625966"/>
          <a:ext cx="1872037" cy="466927"/>
        </a:xfrm>
        <a:prstGeom xmlns:a="http://schemas.openxmlformats.org/drawingml/2006/main" prst="rect">
          <a:avLst/>
        </a:prstGeom>
      </cdr:spPr>
      <cdr:txBody>
        <a:bodyPr xmlns:a="http://schemas.openxmlformats.org/drawingml/2006/main" vert="horz" lIns="0" tIns="0" rIns="0" bIns="0" rtlCol="0">
          <a:noAutofit/>
        </a:bodyPr>
        <a:lstStyle xmlns:a="http://schemas.openxmlformats.org/drawingml/2006/main">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lnSpc>
              <a:spcPct val="90000"/>
            </a:lnSpc>
            <a:buFont typeface="Arial" pitchFamily="34" charset="0"/>
            <a:buNone/>
          </a:pPr>
          <a:r>
            <a:rPr lang="en-GB" sz="2700" b="1" dirty="0">
              <a:solidFill>
                <a:srgbClr val="2F469C"/>
              </a:solidFill>
              <a:latin typeface="+mj-lt"/>
              <a:cs typeface="Arial" panose="020B0604020202020204" pitchFamily="34" charset="0"/>
            </a:rPr>
            <a:t>18%</a:t>
          </a:r>
        </a:p>
      </cdr:txBody>
    </cdr:sp>
  </cdr:relSizeAnchor>
</c:userShapes>
</file>

<file path=ppt/drawings/drawing2.xml><?xml version="1.0" encoding="utf-8"?>
<c:userShapes xmlns:c="http://schemas.openxmlformats.org/drawingml/2006/chart">
  <cdr:relSizeAnchor xmlns:cdr="http://schemas.openxmlformats.org/drawingml/2006/chartDrawing">
    <cdr:from>
      <cdr:x>0</cdr:x>
      <cdr:y>0.32222</cdr:y>
    </cdr:from>
    <cdr:to>
      <cdr:x>1</cdr:x>
      <cdr:y>0.71352</cdr:y>
    </cdr:to>
    <cdr:sp macro="" textlink="">
      <cdr:nvSpPr>
        <cdr:cNvPr id="2" name="Rectangle 12">
          <a:extLst xmlns:a="http://schemas.openxmlformats.org/drawingml/2006/main">
            <a:ext uri="{FF2B5EF4-FFF2-40B4-BE49-F238E27FC236}">
              <a16:creationId xmlns:a16="http://schemas.microsoft.com/office/drawing/2014/main" id="{35859E9C-2317-4665-80BD-2C608FC94053}"/>
            </a:ext>
          </a:extLst>
        </cdr:cNvPr>
        <cdr:cNvSpPr/>
      </cdr:nvSpPr>
      <cdr:spPr>
        <a:xfrm xmlns:a="http://schemas.openxmlformats.org/drawingml/2006/main">
          <a:off x="-6606220" y="597609"/>
          <a:ext cx="1872037" cy="725718"/>
        </a:xfrm>
        <a:prstGeom xmlns:a="http://schemas.openxmlformats.org/drawingml/2006/main" prst="rect">
          <a:avLst/>
        </a:prstGeom>
      </cdr:spPr>
      <cdr:txBody>
        <a:bodyPr xmlns:a="http://schemas.openxmlformats.org/drawingml/2006/main" vert="horz" lIns="0" tIns="0" rIns="0" bIns="0" rtlCol="0">
          <a:noAutofit/>
        </a:bodyPr>
        <a:lstStyle xmlns:a="http://schemas.openxmlformats.org/drawingml/2006/main">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lnSpc>
              <a:spcPct val="90000"/>
            </a:lnSpc>
            <a:buFont typeface="Arial" pitchFamily="34" charset="0"/>
            <a:buNone/>
          </a:pPr>
          <a:r>
            <a:rPr lang="en-GB" sz="2700" b="1" dirty="0">
              <a:solidFill>
                <a:srgbClr val="E6A28E"/>
              </a:solidFill>
              <a:latin typeface="+mj-lt"/>
              <a:cs typeface="Arial" panose="020B0604020202020204" pitchFamily="34" charset="0"/>
            </a:rPr>
            <a:t>18%</a:t>
          </a:r>
        </a:p>
      </cdr:txBody>
    </cdr:sp>
  </cdr:relSizeAnchor>
</c:userShapes>
</file>

<file path=ppt/drawings/drawing3.xml><?xml version="1.0" encoding="utf-8"?>
<c:userShapes xmlns:c="http://schemas.openxmlformats.org/drawingml/2006/chart">
  <cdr:relSizeAnchor xmlns:cdr="http://schemas.openxmlformats.org/drawingml/2006/chartDrawing">
    <cdr:from>
      <cdr:x>0</cdr:x>
      <cdr:y>0.33751</cdr:y>
    </cdr:from>
    <cdr:to>
      <cdr:x>1</cdr:x>
      <cdr:y>0.58928</cdr:y>
    </cdr:to>
    <cdr:sp macro="" textlink="">
      <cdr:nvSpPr>
        <cdr:cNvPr id="2" name="Rectangle 11">
          <a:extLst xmlns:a="http://schemas.openxmlformats.org/drawingml/2006/main">
            <a:ext uri="{FF2B5EF4-FFF2-40B4-BE49-F238E27FC236}">
              <a16:creationId xmlns:a16="http://schemas.microsoft.com/office/drawing/2014/main" id="{15BBEF3C-3311-4EB1-87DF-6959BF62AC88}"/>
            </a:ext>
          </a:extLst>
        </cdr:cNvPr>
        <cdr:cNvSpPr/>
      </cdr:nvSpPr>
      <cdr:spPr>
        <a:xfrm xmlns:a="http://schemas.openxmlformats.org/drawingml/2006/main">
          <a:off x="0" y="625966"/>
          <a:ext cx="1872037" cy="466927"/>
        </a:xfrm>
        <a:prstGeom xmlns:a="http://schemas.openxmlformats.org/drawingml/2006/main" prst="rect">
          <a:avLst/>
        </a:prstGeom>
      </cdr:spPr>
      <cdr:txBody>
        <a:bodyPr xmlns:a="http://schemas.openxmlformats.org/drawingml/2006/main" vert="horz" lIns="0" tIns="0" rIns="0" bIns="0" rtlCol="0">
          <a:noAutofit/>
        </a:bodyPr>
        <a:lstStyle xmlns:a="http://schemas.openxmlformats.org/drawingml/2006/main">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lnSpc>
              <a:spcPct val="90000"/>
            </a:lnSpc>
            <a:buFont typeface="Arial" pitchFamily="34" charset="0"/>
            <a:buNone/>
          </a:pPr>
          <a:r>
            <a:rPr lang="en-GB" sz="2700" b="1" dirty="0">
              <a:solidFill>
                <a:schemeClr val="tx2">
                  <a:lumMod val="50000"/>
                </a:schemeClr>
              </a:solidFill>
              <a:latin typeface="+mj-lt"/>
              <a:cs typeface="Arial" panose="020B0604020202020204" pitchFamily="34" charset="0"/>
            </a:rPr>
            <a:t>19%</a:t>
          </a:r>
        </a:p>
      </cdr:txBody>
    </cdr:sp>
  </cdr:relSizeAnchor>
</c:userShapes>
</file>

<file path=ppt/handoutMasters/_rels/handoutMaster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 name="Espace réservé du numéro de diapositive 4">
            <a:extLst>
              <a:ext uri="{FF2B5EF4-FFF2-40B4-BE49-F238E27FC236}">
                <a16:creationId xmlns:a16="http://schemas.microsoft.com/office/drawing/2014/main" id="{758CD453-6651-4F5D-AF0E-943113B7BA3E}"/>
              </a:ext>
            </a:extLst>
          </p:cNvPr>
          <p:cNvSpPr>
            <a:spLocks noGrp="1"/>
          </p:cNvSpPr>
          <p:nvPr>
            <p:ph type="sldNum" sz="quarter" idx="3"/>
          </p:nvPr>
        </p:nvSpPr>
        <p:spPr>
          <a:xfrm>
            <a:off x="1943100" y="8685213"/>
            <a:ext cx="2971800" cy="458787"/>
          </a:xfrm>
          <a:prstGeom prst="rect">
            <a:avLst/>
          </a:prstGeom>
        </p:spPr>
        <p:txBody>
          <a:bodyPr vert="horz" lIns="91440" tIns="45720" rIns="91440" bIns="45720" rtlCol="0" anchor="b"/>
          <a:lstStyle>
            <a:lvl1pPr algn="r">
              <a:defRPr sz="1200"/>
            </a:lvl1pPr>
          </a:lstStyle>
          <a:p>
            <a:pPr algn="ctr"/>
            <a:fld id="{4AFB3F6D-27DE-421A-80DD-C4F1B28388AB}" type="slidenum">
              <a:rPr lang="en-GB" smtClean="0"/>
              <a:pPr algn="ctr"/>
              <a:t>‹#›</a:t>
            </a:fld>
            <a:endParaRPr lang="en-GB" dirty="0"/>
          </a:p>
        </p:txBody>
      </p:sp>
      <p:pic>
        <p:nvPicPr>
          <p:cNvPr id="6" name="Graphique 5">
            <a:extLst>
              <a:ext uri="{FF2B5EF4-FFF2-40B4-BE49-F238E27FC236}">
                <a16:creationId xmlns:a16="http://schemas.microsoft.com/office/drawing/2014/main" id="{D0451719-3070-4E08-B8C6-FC356491DB5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GB"/>
          </a:p>
        </p:txBody>
      </p:sp>
      <p:sp>
        <p:nvSpPr>
          <p:cNvPr id="7" name="Espace réservé du numéro de diapositive 6"/>
          <p:cNvSpPr>
            <a:spLocks noGrp="1"/>
          </p:cNvSpPr>
          <p:nvPr>
            <p:ph type="sldNum" sz="quarter" idx="5"/>
          </p:nvPr>
        </p:nvSpPr>
        <p:spPr>
          <a:xfrm>
            <a:off x="1943100" y="8685213"/>
            <a:ext cx="2971800" cy="458787"/>
          </a:xfrm>
          <a:prstGeom prst="rect">
            <a:avLst/>
          </a:prstGeom>
        </p:spPr>
        <p:txBody>
          <a:bodyPr vert="horz" lIns="91440" tIns="45720" rIns="91440" bIns="45720" rtlCol="0" anchor="b"/>
          <a:lstStyle>
            <a:lvl1pPr algn="ctr">
              <a:defRPr sz="1200"/>
            </a:lvl1pPr>
          </a:lstStyle>
          <a:p>
            <a:fld id="{3B8578AD-0529-46A5-84EB-6338160D5A7D}" type="slidenum">
              <a:rPr lang="en-GB" smtClean="0"/>
              <a:pPr/>
              <a:t>‹#›</a:t>
            </a:fld>
            <a:endParaRPr lang="en-GB" dirty="0"/>
          </a:p>
        </p:txBody>
      </p:sp>
      <p:pic>
        <p:nvPicPr>
          <p:cNvPr id="8" name="Graphique 7">
            <a:extLst>
              <a:ext uri="{FF2B5EF4-FFF2-40B4-BE49-F238E27FC236}">
                <a16:creationId xmlns:a16="http://schemas.microsoft.com/office/drawing/2014/main" id="{6C287C20-68EB-44AA-A066-A744AB8D45D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071445" y="222059"/>
            <a:ext cx="715110" cy="644908"/>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2.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2.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2.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2.pn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3.emf"/><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7.jpg"/><Relationship Id="rId4" Type="http://schemas.openxmlformats.org/officeDocument/2006/relationships/slideMaster" Target="../slideMasters/slideMaster1.xml"/><Relationship Id="rId9"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2.png"/><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2.png"/><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2.png"/><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0.xml"/><Relationship Id="rId7" Type="http://schemas.openxmlformats.org/officeDocument/2006/relationships/image" Target="../media/image2.png"/><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2.png"/><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2.png"/><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3.bin"/><Relationship Id="rId5" Type="http://schemas.openxmlformats.org/officeDocument/2006/relationships/image" Target="../media/image8.jpg"/><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2.png"/><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2.png"/><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2.png"/><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2.png"/><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2.png"/><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2.png"/><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2.png"/><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2.png"/><Relationship Id="rId2" Type="http://schemas.openxmlformats.org/officeDocument/2006/relationships/tags" Target="../tags/tag77.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2.png"/><Relationship Id="rId2" Type="http://schemas.openxmlformats.org/officeDocument/2006/relationships/tags" Target="../tags/tag79.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82.xml"/><Relationship Id="rId7" Type="http://schemas.openxmlformats.org/officeDocument/2006/relationships/image" Target="../media/image14.emf"/><Relationship Id="rId2" Type="http://schemas.openxmlformats.org/officeDocument/2006/relationships/tags" Target="../tags/tag81.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image" Target="../media/image2.png"/><Relationship Id="rId2" Type="http://schemas.openxmlformats.org/officeDocument/2006/relationships/tags" Target="../tags/tag83.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2.png"/><Relationship Id="rId2" Type="http://schemas.openxmlformats.org/officeDocument/2006/relationships/tags" Target="../tags/tag85.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4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2.png"/><Relationship Id="rId2" Type="http://schemas.openxmlformats.org/officeDocument/2006/relationships/tags" Target="../tags/tag91.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2.png"/><Relationship Id="rId2" Type="http://schemas.openxmlformats.org/officeDocument/2006/relationships/tags" Target="../tags/tag93.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2.png"/><Relationship Id="rId2" Type="http://schemas.openxmlformats.org/officeDocument/2006/relationships/tags" Target="../tags/tag95.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2.png"/><Relationship Id="rId2" Type="http://schemas.openxmlformats.org/officeDocument/2006/relationships/tags" Target="../tags/tag97.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2.png"/><Relationship Id="rId2" Type="http://schemas.openxmlformats.org/officeDocument/2006/relationships/tags" Target="../tags/tag99.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2.png"/><Relationship Id="rId2" Type="http://schemas.openxmlformats.org/officeDocument/2006/relationships/tags" Target="../tags/tag101.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08.xml"/><Relationship Id="rId2" Type="http://schemas.openxmlformats.org/officeDocument/2006/relationships/tags" Target="../tags/tag107.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10.xml"/><Relationship Id="rId7" Type="http://schemas.openxmlformats.org/officeDocument/2006/relationships/image" Target="../media/image15.emf"/><Relationship Id="rId2" Type="http://schemas.openxmlformats.org/officeDocument/2006/relationships/tags" Target="../tags/tag109.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7.emf"/><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12.xml"/><Relationship Id="rId7" Type="http://schemas.openxmlformats.org/officeDocument/2006/relationships/image" Target="../media/image15.emf"/><Relationship Id="rId2" Type="http://schemas.openxmlformats.org/officeDocument/2006/relationships/tags" Target="../tags/tag111.xml"/><Relationship Id="rId1" Type="http://schemas.openxmlformats.org/officeDocument/2006/relationships/vmlDrawing" Target="../drawings/vmlDrawing56.vml"/><Relationship Id="rId6" Type="http://schemas.openxmlformats.org/officeDocument/2006/relationships/image" Target="../media/image1.emf"/><Relationship Id="rId11" Type="http://schemas.openxmlformats.org/officeDocument/2006/relationships/image" Target="../media/image18.emf"/><Relationship Id="rId5" Type="http://schemas.openxmlformats.org/officeDocument/2006/relationships/oleObject" Target="../embeddings/oleObject10.bin"/><Relationship Id="rId10" Type="http://schemas.openxmlformats.org/officeDocument/2006/relationships/image" Target="../media/image16.emf"/><Relationship Id="rId4" Type="http://schemas.openxmlformats.org/officeDocument/2006/relationships/slideMaster" Target="../slideMasters/slideMaster1.xml"/><Relationship Id="rId9" Type="http://schemas.openxmlformats.org/officeDocument/2006/relationships/image" Target="../media/image17.emf"/></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14.xml"/><Relationship Id="rId7" Type="http://schemas.openxmlformats.org/officeDocument/2006/relationships/image" Target="../media/image15.emf"/><Relationship Id="rId2" Type="http://schemas.openxmlformats.org/officeDocument/2006/relationships/tags" Target="../tags/tag113.xml"/><Relationship Id="rId1" Type="http://schemas.openxmlformats.org/officeDocument/2006/relationships/vmlDrawing" Target="../drawings/vmlDrawing57.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7.emf"/><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16.xml"/><Relationship Id="rId7" Type="http://schemas.openxmlformats.org/officeDocument/2006/relationships/image" Target="../media/image15.emf"/><Relationship Id="rId2" Type="http://schemas.openxmlformats.org/officeDocument/2006/relationships/tags" Target="../tags/tag115.xml"/><Relationship Id="rId1" Type="http://schemas.openxmlformats.org/officeDocument/2006/relationships/vmlDrawing" Target="../drawings/vmlDrawing58.vml"/><Relationship Id="rId6" Type="http://schemas.openxmlformats.org/officeDocument/2006/relationships/image" Target="../media/image1.emf"/><Relationship Id="rId11" Type="http://schemas.openxmlformats.org/officeDocument/2006/relationships/image" Target="../media/image17.emf"/><Relationship Id="rId5" Type="http://schemas.openxmlformats.org/officeDocument/2006/relationships/oleObject" Target="../embeddings/oleObject10.bin"/><Relationship Id="rId10" Type="http://schemas.openxmlformats.org/officeDocument/2006/relationships/image" Target="../media/image18.emf"/><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18.xml"/><Relationship Id="rId7" Type="http://schemas.openxmlformats.org/officeDocument/2006/relationships/image" Target="../media/image15.emf"/><Relationship Id="rId2" Type="http://schemas.openxmlformats.org/officeDocument/2006/relationships/tags" Target="../tags/tag117.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2.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20.xml"/><Relationship Id="rId7" Type="http://schemas.openxmlformats.org/officeDocument/2006/relationships/image" Target="../media/image15.emf"/><Relationship Id="rId2" Type="http://schemas.openxmlformats.org/officeDocument/2006/relationships/tags" Target="../tags/tag119.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8.emf"/><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22.xml"/><Relationship Id="rId7" Type="http://schemas.openxmlformats.org/officeDocument/2006/relationships/image" Target="../media/image15.emf"/><Relationship Id="rId2" Type="http://schemas.openxmlformats.org/officeDocument/2006/relationships/tags" Target="../tags/tag121.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24.xml"/><Relationship Id="rId7" Type="http://schemas.openxmlformats.org/officeDocument/2006/relationships/image" Target="../media/image15.emf"/><Relationship Id="rId2" Type="http://schemas.openxmlformats.org/officeDocument/2006/relationships/tags" Target="../tags/tag123.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8.emf"/><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26.xml"/><Relationship Id="rId7" Type="http://schemas.openxmlformats.org/officeDocument/2006/relationships/image" Target="../media/image15.emf"/><Relationship Id="rId2" Type="http://schemas.openxmlformats.org/officeDocument/2006/relationships/tags" Target="../tags/tag125.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7.emf"/><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28.xml"/><Relationship Id="rId7" Type="http://schemas.openxmlformats.org/officeDocument/2006/relationships/image" Target="../media/image15.emf"/><Relationship Id="rId2" Type="http://schemas.openxmlformats.org/officeDocument/2006/relationships/tags" Target="../tags/tag127.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10.bin"/><Relationship Id="rId10" Type="http://schemas.openxmlformats.org/officeDocument/2006/relationships/image" Target="../media/image17.emf"/><Relationship Id="rId4" Type="http://schemas.openxmlformats.org/officeDocument/2006/relationships/slideMaster" Target="../slideMasters/slideMaster1.xml"/><Relationship Id="rId9" Type="http://schemas.openxmlformats.org/officeDocument/2006/relationships/image" Target="../media/image18.emf"/></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30.xml"/><Relationship Id="rId7" Type="http://schemas.openxmlformats.org/officeDocument/2006/relationships/image" Target="../media/image15.emf"/><Relationship Id="rId2" Type="http://schemas.openxmlformats.org/officeDocument/2006/relationships/tags" Target="../tags/tag129.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 Id="rId9" Type="http://schemas.openxmlformats.org/officeDocument/2006/relationships/image" Target="../media/image16.emf"/></Relationships>
</file>

<file path=ppt/slideLayouts/_rels/slideLayout66.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tags" Target="../tags/tag132.xml"/><Relationship Id="rId7" Type="http://schemas.openxmlformats.org/officeDocument/2006/relationships/image" Target="../media/image15.emf"/><Relationship Id="rId2" Type="http://schemas.openxmlformats.org/officeDocument/2006/relationships/tags" Target="../tags/tag131.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 Id="rId9" Type="http://schemas.openxmlformats.org/officeDocument/2006/relationships/image" Target="../media/image18.emf"/></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34.xml"/><Relationship Id="rId2" Type="http://schemas.openxmlformats.org/officeDocument/2006/relationships/tags" Target="../tags/tag133.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36.xml"/><Relationship Id="rId2" Type="http://schemas.openxmlformats.org/officeDocument/2006/relationships/tags" Target="../tags/tag135.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38.xml"/><Relationship Id="rId2" Type="http://schemas.openxmlformats.org/officeDocument/2006/relationships/tags" Target="../tags/tag137.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tags" Target="../tags/tag140.xml"/><Relationship Id="rId7" Type="http://schemas.openxmlformats.org/officeDocument/2006/relationships/image" Target="../media/image19.png"/><Relationship Id="rId2" Type="http://schemas.openxmlformats.org/officeDocument/2006/relationships/tags" Target="../tags/tag139.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42.xml"/><Relationship Id="rId2" Type="http://schemas.openxmlformats.org/officeDocument/2006/relationships/tags" Target="../tags/tag141.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8.xml"/><Relationship Id="rId7" Type="http://schemas.openxmlformats.org/officeDocument/2006/relationships/image" Target="../media/image1.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8.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tags" Target="../tags/tag144.xml"/><Relationship Id="rId7" Type="http://schemas.openxmlformats.org/officeDocument/2006/relationships/image" Target="../media/image19.png"/><Relationship Id="rId2" Type="http://schemas.openxmlformats.org/officeDocument/2006/relationships/tags" Target="../tags/tag143.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tags" Target="../tags/tag146.xml"/><Relationship Id="rId7" Type="http://schemas.openxmlformats.org/officeDocument/2006/relationships/image" Target="../media/image19.png"/><Relationship Id="rId2" Type="http://schemas.openxmlformats.org/officeDocument/2006/relationships/tags" Target="../tags/tag145.xml"/><Relationship Id="rId1" Type="http://schemas.openxmlformats.org/officeDocument/2006/relationships/vmlDrawing" Target="../drawings/vmlDrawing73.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47.xml"/><Relationship Id="rId1" Type="http://schemas.openxmlformats.org/officeDocument/2006/relationships/vmlDrawing" Target="../drawings/vmlDrawing74.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148.xml"/><Relationship Id="rId1" Type="http://schemas.openxmlformats.org/officeDocument/2006/relationships/vmlDrawing" Target="../drawings/vmlDrawing75.v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8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149.xml"/><Relationship Id="rId1" Type="http://schemas.openxmlformats.org/officeDocument/2006/relationships/vmlDrawing" Target="../drawings/vmlDrawing76.v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12.bin"/><Relationship Id="rId9" Type="http://schemas.openxmlformats.org/officeDocument/2006/relationships/image" Target="../media/image2.png"/></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20.xml"/><Relationship Id="rId7" Type="http://schemas.openxmlformats.org/officeDocument/2006/relationships/image" Target="../media/image1.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8.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userDrawn="1">
            <p:custDataLst>
              <p:tags r:id="rId2"/>
            </p:custDataLst>
            <p:extLst>
              <p:ext uri="{D42A27DB-BD31-4B8C-83A1-F6EECF244321}">
                <p14:modId xmlns:p14="http://schemas.microsoft.com/office/powerpoint/2010/main" val="3788789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91" name="Diapositive think-cell" r:id="rId5" imgW="532" imgH="530" progId="TCLayout.ActiveDocument.1">
                  <p:embed/>
                </p:oleObj>
              </mc:Choice>
              <mc:Fallback>
                <p:oleObj name="Diapositive think-cell" r:id="rId5" imgW="532" imgH="53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9207" y="521852"/>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nb-NO" noProof="0"/>
              <a:t>tittel</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9131" y="3001503"/>
            <a:ext cx="7551997" cy="461665"/>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a:t>Undertittel</a:t>
            </a:r>
          </a:p>
        </p:txBody>
      </p:sp>
      <p:pic>
        <p:nvPicPr>
          <p:cNvPr id="33" name="Image 32" descr="Une image contenant objet&#10;&#10;Description générée automatiquement">
            <a:extLst>
              <a:ext uri="{FF2B5EF4-FFF2-40B4-BE49-F238E27FC236}">
                <a16:creationId xmlns:a16="http://schemas.microsoft.com/office/drawing/2014/main" id="{EDBF095C-490F-455B-8877-BE70651A9100}"/>
              </a:ext>
            </a:extLst>
          </p:cNvPr>
          <p:cNvPicPr>
            <a:picLocks noChangeAspect="1"/>
          </p:cNvPicPr>
          <p:nvPr userDrawn="1"/>
        </p:nvPicPr>
        <p:blipFill rotWithShape="1">
          <a:blip r:embed="rId7">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9132" y="4402897"/>
            <a:ext cx="1484794" cy="215444"/>
          </a:xfrm>
          <a:prstGeom prst="rect">
            <a:avLst/>
          </a:prstGeom>
        </p:spPr>
        <p:txBody>
          <a:bodyPr wrap="none" lIns="108000" tIns="0" rIns="180000" bIns="0">
            <a:spAutoFit/>
          </a:bodyPr>
          <a:lstStyle>
            <a:lvl1pPr>
              <a:defRPr sz="1400">
                <a:solidFill>
                  <a:schemeClr val="bg1"/>
                </a:solidFill>
              </a:defRPr>
            </a:lvl1pPr>
          </a:lstStyle>
          <a:p>
            <a:fld id="{BC882573-CF8D-477B-8EF6-9CF97BBEDB1A}" type="datetime3">
              <a:rPr lang="nb-NO" noProof="0" smtClean="0"/>
              <a:t>2022.06.17</a:t>
            </a:fld>
            <a:endParaRPr lang="nb-NO" noProof="0"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9132" y="4014515"/>
            <a:ext cx="1120550" cy="400110"/>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noProof="0"/>
              <a:t>Ditt navn</a:t>
            </a:r>
          </a:p>
        </p:txBody>
      </p:sp>
      <p:pic>
        <p:nvPicPr>
          <p:cNvPr id="14" name="Graphique 12">
            <a:extLst>
              <a:ext uri="{FF2B5EF4-FFF2-40B4-BE49-F238E27FC236}">
                <a16:creationId xmlns:a16="http://schemas.microsoft.com/office/drawing/2014/main" id="{EDC392AE-DD2C-4A4A-B7EE-4301D02F1617}"/>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22590B82-793B-46ED-8C13-DFD24AADC3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Tree>
    <p:extLst>
      <p:ext uri="{BB962C8B-B14F-4D97-AF65-F5344CB8AC3E}">
        <p14:creationId xmlns:p14="http://schemas.microsoft.com/office/powerpoint/2010/main" val="1869501016"/>
      </p:ext>
    </p:extLst>
  </p:cSld>
  <p:clrMapOvr>
    <a:masterClrMapping/>
  </p:clrMapOvr>
  <p:extLst>
    <p:ext uri="{DCECCB84-F9BA-43D5-87BE-67443E8EF086}">
      <p15:sldGuideLst xmlns:p15="http://schemas.microsoft.com/office/powerpoint/2012/main">
        <p15:guide id="1" orient="horz" pos="329" userDrawn="1">
          <p15:clr>
            <a:srgbClr val="F26B43"/>
          </p15:clr>
        </p15:guide>
        <p15:guide id="2" orient="horz" pos="1886" userDrawn="1">
          <p15:clr>
            <a:srgbClr val="F26B43"/>
          </p15:clr>
        </p15:guide>
        <p15:guide id="4" orient="horz" pos="3317" userDrawn="1">
          <p15:clr>
            <a:srgbClr val="F26B43"/>
          </p15:clr>
        </p15:guide>
        <p15:guide id="5" orient="horz" pos="3917" userDrawn="1">
          <p15:clr>
            <a:srgbClr val="F26B43"/>
          </p15:clr>
        </p15:guide>
        <p15:guide id="6" pos="288" userDrawn="1">
          <p15:clr>
            <a:srgbClr val="F26B43"/>
          </p15:clr>
        </p15:guide>
        <p15:guide id="7" pos="357" userDrawn="1">
          <p15:clr>
            <a:srgbClr val="A4A3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Visual in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809EBE8-0C7E-4ABF-B776-8E09915DB959}"/>
              </a:ext>
            </a:extLst>
          </p:cNvPr>
          <p:cNvSpPr/>
          <p:nvPr userDrawn="1"/>
        </p:nvSpPr>
        <p:spPr>
          <a:xfrm>
            <a:off x="1931" y="2101"/>
            <a:ext cx="10097918" cy="6852677"/>
          </a:xfrm>
          <a:prstGeom prst="rect">
            <a:avLst/>
          </a:prstGeom>
          <a:gradFill flip="none" rotWithShape="1">
            <a:gsLst>
              <a:gs pos="0">
                <a:schemeClr val="tx1">
                  <a:alpha val="60000"/>
                </a:schemeClr>
              </a:gs>
              <a:gs pos="50000">
                <a:srgbClr val="000000">
                  <a:alpha val="0"/>
                </a:srgb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3" name="Forme libre : forme 12">
            <a:extLst>
              <a:ext uri="{FF2B5EF4-FFF2-40B4-BE49-F238E27FC236}">
                <a16:creationId xmlns:a16="http://schemas.microsoft.com/office/drawing/2014/main" id="{63F05E0D-3D04-4017-9808-762862E50409}"/>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sp>
        <p:nvSpPr>
          <p:cNvPr id="14" name="Forme libre : forme 13">
            <a:extLst>
              <a:ext uri="{FF2B5EF4-FFF2-40B4-BE49-F238E27FC236}">
                <a16:creationId xmlns:a16="http://schemas.microsoft.com/office/drawing/2014/main" id="{FD65DF1D-0D1A-471B-8283-644A0E829D66}"/>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dirty="0"/>
          </a:p>
        </p:txBody>
      </p:sp>
      <p:pic>
        <p:nvPicPr>
          <p:cNvPr id="10" name="Graphique 8">
            <a:extLst>
              <a:ext uri="{FF2B5EF4-FFF2-40B4-BE49-F238E27FC236}">
                <a16:creationId xmlns:a16="http://schemas.microsoft.com/office/drawing/2014/main" id="{55CF31FB-0777-4002-8B91-D7D76860398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2" name="Espace réservé du numéro de diapositive 2">
            <a:extLst>
              <a:ext uri="{FF2B5EF4-FFF2-40B4-BE49-F238E27FC236}">
                <a16:creationId xmlns:a16="http://schemas.microsoft.com/office/drawing/2014/main" id="{5E6B0BDD-2859-4F0A-A7E1-A44BEFADC16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5" name="Espace réservé du pied de page 4">
            <a:extLst>
              <a:ext uri="{FF2B5EF4-FFF2-40B4-BE49-F238E27FC236}">
                <a16:creationId xmlns:a16="http://schemas.microsoft.com/office/drawing/2014/main" id="{F5A26E8D-D486-4A59-828C-BE9E51CDB5D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a:t>
            </a:r>
            <a:r>
              <a:rPr lang="fr-FR" dirty="0" err="1"/>
              <a:t>text</a:t>
            </a:r>
            <a:r>
              <a:rPr lang="fr-FR" dirty="0"/>
              <a:t> of the slide</a:t>
            </a:r>
          </a:p>
        </p:txBody>
      </p:sp>
      <p:sp>
        <p:nvSpPr>
          <p:cNvPr id="17" name="Cadre 16">
            <a:extLst>
              <a:ext uri="{FF2B5EF4-FFF2-40B4-BE49-F238E27FC236}">
                <a16:creationId xmlns:a16="http://schemas.microsoft.com/office/drawing/2014/main" id="{AA4E60BF-8266-4954-89D7-E523061AB5A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948627809"/>
      </p:ext>
    </p:extLst>
  </p:cSld>
  <p:clrMapOvr>
    <a:masterClrMapping/>
  </p:clrMapOvr>
  <p:extLst>
    <p:ext uri="{DCECCB84-F9BA-43D5-87BE-67443E8EF086}">
      <p15:sldGuideLst xmlns:p15="http://schemas.microsoft.com/office/powerpoint/2012/main">
        <p15:guide id="1" pos="248" userDrawn="1">
          <p15:clr>
            <a:srgbClr val="F26B43"/>
          </p15:clr>
        </p15:guide>
        <p15:guide id="2" pos="306" userDrawn="1">
          <p15:clr>
            <a:srgbClr val="A4A3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018"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544392" y="463036"/>
            <a:ext cx="1570943" cy="1446550"/>
          </a:xfrm>
          <a:prstGeom prst="rect">
            <a:avLst/>
          </a:prstGeom>
        </p:spPr>
        <p:txBody>
          <a:bodyPr wrap="none">
            <a:spAutoFit/>
          </a:bodyPr>
          <a:lstStyle>
            <a:lvl1pPr marL="0" indent="0">
              <a:buNone/>
              <a:defRPr sz="8800" b="1">
                <a:solidFill>
                  <a:schemeClr val="bg1"/>
                </a:solidFill>
              </a:defRPr>
            </a:lvl1pPr>
          </a:lstStyle>
          <a:p>
            <a:pPr lvl="0"/>
            <a:r>
              <a:rPr lang="nb-NO" noProof="0"/>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551384" y="1808820"/>
            <a:ext cx="7551996" cy="2123658"/>
          </a:xfrm>
        </p:spPr>
        <p:txBody>
          <a:bodyPr wrap="square" lIns="72000" anchor="t">
            <a:spAutoFit/>
          </a:bodyPr>
          <a:lstStyle>
            <a:lvl1pPr>
              <a:lnSpc>
                <a:spcPct val="100000"/>
              </a:lnSpc>
              <a:defRPr sz="6600" b="1">
                <a:solidFill>
                  <a:schemeClr val="tx2"/>
                </a:solidFill>
                <a:latin typeface="+mn-lt"/>
              </a:defRPr>
            </a:lvl1pPr>
          </a:lstStyle>
          <a:p>
            <a:r>
              <a:rPr lang="nb-NO" noProof="0"/>
              <a:t>Title of the chapter</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546293" y="6031463"/>
            <a:ext cx="3425471" cy="338554"/>
          </a:xfrm>
          <a:prstGeom prst="rect">
            <a:avLst/>
          </a:prstGeom>
        </p:spPr>
        <p:txBody>
          <a:bodyPr wrap="square" lIns="108000" rIns="180000" anchor="b">
            <a:spAutoFit/>
          </a:bodyPr>
          <a:lstStyle>
            <a:lvl1pPr marL="0" indent="0">
              <a:buNone/>
              <a:defRPr sz="16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nb-NO" noProof="0"/>
              <a:t>Subtitle of the chapter</a:t>
            </a:r>
          </a:p>
        </p:txBody>
      </p:sp>
      <p:sp>
        <p:nvSpPr>
          <p:cNvPr id="8" name="Cadre 7">
            <a:extLst>
              <a:ext uri="{FF2B5EF4-FFF2-40B4-BE49-F238E27FC236}">
                <a16:creationId xmlns:a16="http://schemas.microsoft.com/office/drawing/2014/main" id="{6F61A443-F099-4BC1-8F91-A88E5CF66E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9" name="Espace réservé du numéro de diapositive 2">
            <a:extLst>
              <a:ext uri="{FF2B5EF4-FFF2-40B4-BE49-F238E27FC236}">
                <a16:creationId xmlns:a16="http://schemas.microsoft.com/office/drawing/2014/main" id="{92328F17-787E-4C24-8BE9-04E73E575C1A}"/>
              </a:ext>
            </a:extLst>
          </p:cNvPr>
          <p:cNvSpPr>
            <a:spLocks noGrp="1"/>
          </p:cNvSpPr>
          <p:nvPr>
            <p:ph type="sldNum" sz="quarter" idx="14"/>
          </p:nvPr>
        </p:nvSpPr>
        <p:spPr>
          <a:xfrm>
            <a:off x="213906" y="6875869"/>
            <a:ext cx="360037" cy="45720"/>
          </a:xfrm>
        </p:spPr>
        <p:txBody>
          <a:bodyPr/>
          <a:lstStyle>
            <a:lvl1pPr>
              <a:defRPr sz="100">
                <a:noFill/>
              </a:defRPr>
            </a:lvl1pPr>
          </a:lstStyle>
          <a:p>
            <a:fld id="{D61AABEC-672F-4B68-B914-690DA978312C}" type="slidenum">
              <a:rPr lang="nb-NO" noProof="0" smtClean="0"/>
              <a:pPr/>
              <a:t>‹#›</a:t>
            </a:fld>
            <a:r>
              <a:rPr lang="nb-NO" noProof="0" dirty="0"/>
              <a:t> ‒ </a:t>
            </a:r>
          </a:p>
        </p:txBody>
      </p:sp>
    </p:spTree>
    <p:extLst>
      <p:ext uri="{BB962C8B-B14F-4D97-AF65-F5344CB8AC3E}">
        <p14:creationId xmlns:p14="http://schemas.microsoft.com/office/powerpoint/2010/main" val="2402468031"/>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63">
          <p15:clr>
            <a:srgbClr val="F26B43"/>
          </p15:clr>
        </p15:guide>
        <p15:guide id="4" orient="horz" pos="4194">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hapter_Dark Blue Bg">
    <p:bg>
      <p:bgPr>
        <a:solidFill>
          <a:schemeClr val="accent1"/>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extLst>
              <p:ext uri="{D42A27DB-BD31-4B8C-83A1-F6EECF244321}">
                <p14:modId xmlns:p14="http://schemas.microsoft.com/office/powerpoint/2010/main" val="259928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665"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44FFDEA7-E33B-4F69-A94F-C24D4C06C366}"/>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55EF3A58-D397-4CE4-A40D-2D27231A07F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2" name="Espace réservé du pied de page 4">
            <a:extLst>
              <a:ext uri="{FF2B5EF4-FFF2-40B4-BE49-F238E27FC236}">
                <a16:creationId xmlns:a16="http://schemas.microsoft.com/office/drawing/2014/main" id="{87E7F813-4752-4D6D-9FC9-975E797C55B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6" name="Cadre 15">
            <a:extLst>
              <a:ext uri="{FF2B5EF4-FFF2-40B4-BE49-F238E27FC236}">
                <a16:creationId xmlns:a16="http://schemas.microsoft.com/office/drawing/2014/main" id="{E81ECE1A-DB67-4F86-BCE5-A86D8283DC2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66704182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Chapter_Blue Bg">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extLst>
              <p:ext uri="{D42A27DB-BD31-4B8C-83A1-F6EECF244321}">
                <p14:modId xmlns:p14="http://schemas.microsoft.com/office/powerpoint/2010/main" val="3809805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573"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8" name="Graphique 8">
            <a:extLst>
              <a:ext uri="{FF2B5EF4-FFF2-40B4-BE49-F238E27FC236}">
                <a16:creationId xmlns:a16="http://schemas.microsoft.com/office/drawing/2014/main" id="{D3C70FEB-0084-4E37-8AC4-3A50B2EA056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2" name="Espace réservé du pied de page 4">
            <a:extLst>
              <a:ext uri="{FF2B5EF4-FFF2-40B4-BE49-F238E27FC236}">
                <a16:creationId xmlns:a16="http://schemas.microsoft.com/office/drawing/2014/main" id="{F59241AE-0D4A-4924-9503-149B6B5F1252}"/>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6" name="Cadre 15">
            <a:extLst>
              <a:ext uri="{FF2B5EF4-FFF2-40B4-BE49-F238E27FC236}">
                <a16:creationId xmlns:a16="http://schemas.microsoft.com/office/drawing/2014/main" id="{6A89F2A7-85CF-443A-9A03-D2C9856F3D0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386586534"/>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hapter_Turquoise Bg">
    <p:bg>
      <p:bgPr>
        <a:solidFill>
          <a:schemeClr val="tx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extLst>
              <p:ext uri="{D42A27DB-BD31-4B8C-83A1-F6EECF244321}">
                <p14:modId xmlns:p14="http://schemas.microsoft.com/office/powerpoint/2010/main" val="22424810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597"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0" name="Graphique 8">
            <a:extLst>
              <a:ext uri="{FF2B5EF4-FFF2-40B4-BE49-F238E27FC236}">
                <a16:creationId xmlns:a16="http://schemas.microsoft.com/office/drawing/2014/main" id="{45E8C3F4-2490-401C-BFA7-37816AAE0F9C}"/>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1" name="Espace réservé du numéro de diapositive 2">
            <a:extLst>
              <a:ext uri="{FF2B5EF4-FFF2-40B4-BE49-F238E27FC236}">
                <a16:creationId xmlns:a16="http://schemas.microsoft.com/office/drawing/2014/main" id="{D1EEABA1-A797-42A3-88FC-A0BE2A9BB982}"/>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2" name="Espace réservé du pied de page 4">
            <a:extLst>
              <a:ext uri="{FF2B5EF4-FFF2-40B4-BE49-F238E27FC236}">
                <a16:creationId xmlns:a16="http://schemas.microsoft.com/office/drawing/2014/main" id="{8E0CC66F-2823-4F24-845C-C4CBB5EDF45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C0ED4626-A3F3-4EB6-B615-E33DF81FC2E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391599018"/>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hapter_Violet Bg">
    <p:bg>
      <p:bgPr>
        <a:solidFill>
          <a:schemeClr val="accent4"/>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extLst>
              <p:ext uri="{D42A27DB-BD31-4B8C-83A1-F6EECF244321}">
                <p14:modId xmlns:p14="http://schemas.microsoft.com/office/powerpoint/2010/main" val="562769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620"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21" name="Graphique 8">
            <a:extLst>
              <a:ext uri="{FF2B5EF4-FFF2-40B4-BE49-F238E27FC236}">
                <a16:creationId xmlns:a16="http://schemas.microsoft.com/office/drawing/2014/main" id="{18AF53AA-F64F-40A2-BA18-E39CF0E6D61F}"/>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22" name="Espace réservé du numéro de diapositive 2">
            <a:extLst>
              <a:ext uri="{FF2B5EF4-FFF2-40B4-BE49-F238E27FC236}">
                <a16:creationId xmlns:a16="http://schemas.microsoft.com/office/drawing/2014/main" id="{99124B2E-7D5F-43EA-BA8E-51CF5BE916BE}"/>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3" name="Espace réservé du pied de page 4">
            <a:extLst>
              <a:ext uri="{FF2B5EF4-FFF2-40B4-BE49-F238E27FC236}">
                <a16:creationId xmlns:a16="http://schemas.microsoft.com/office/drawing/2014/main" id="{F420F713-7CBA-4B47-8081-8B5D8C3FEF7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Cadre 15">
            <a:extLst>
              <a:ext uri="{FF2B5EF4-FFF2-40B4-BE49-F238E27FC236}">
                <a16:creationId xmlns:a16="http://schemas.microsoft.com/office/drawing/2014/main" id="{15CED403-6235-4519-AC36-931AED17B46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54906365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lumns">
    <p:spTree>
      <p:nvGrpSpPr>
        <p:cNvPr id="1" name=""/>
        <p:cNvGrpSpPr/>
        <p:nvPr/>
      </p:nvGrpSpPr>
      <p:grpSpPr>
        <a:xfrm>
          <a:off x="0" y="0"/>
          <a:ext cx="0" cy="0"/>
          <a:chOff x="0" y="0"/>
          <a:chExt cx="0" cy="0"/>
        </a:xfrm>
      </p:grpSpPr>
      <p:sp>
        <p:nvSpPr>
          <p:cNvPr id="13" name="Text Placeholder 5">
            <a:extLst>
              <a:ext uri="{FF2B5EF4-FFF2-40B4-BE49-F238E27FC236}">
                <a16:creationId xmlns:a16="http://schemas.microsoft.com/office/drawing/2014/main" id="{E0F3E5E8-952B-4834-9B88-873140980343}"/>
              </a:ext>
            </a:extLst>
          </p:cNvPr>
          <p:cNvSpPr>
            <a:spLocks noGrp="1"/>
          </p:cNvSpPr>
          <p:nvPr>
            <p:ph type="body" sz="quarter" idx="16"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rgbClr val="2F469C"/>
                </a:solidFill>
              </a:defRPr>
            </a:lvl1pPr>
          </a:lstStyle>
          <a:p>
            <a:pPr lvl="0"/>
            <a:r>
              <a:rPr lang="nb-NO" noProof="0" dirty="0" err="1"/>
              <a:t>Subtitle</a:t>
            </a:r>
            <a:r>
              <a:rPr lang="nb-NO" noProof="0" dirty="0"/>
              <a:t> </a:t>
            </a:r>
            <a:r>
              <a:rPr lang="nb-NO" noProof="0" dirty="0" err="1"/>
              <a:t>of</a:t>
            </a:r>
            <a:r>
              <a:rPr lang="nb-NO" noProof="0" dirty="0"/>
              <a:t> </a:t>
            </a:r>
            <a:r>
              <a:rPr lang="nb-NO" noProof="0" dirty="0" err="1"/>
              <a:t>the</a:t>
            </a:r>
            <a:r>
              <a:rPr lang="nb-NO" noProof="0" dirty="0"/>
              <a:t> slide</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666661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39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Your text here</a:t>
            </a:r>
          </a:p>
          <a:p>
            <a:pPr lvl="1"/>
            <a:r>
              <a:rPr lang="nb-NO" noProof="0"/>
              <a:t>Text level 1</a:t>
            </a:r>
          </a:p>
          <a:p>
            <a:pPr lvl="2"/>
            <a:r>
              <a:rPr lang="nb-NO" noProof="0"/>
              <a:t>Text level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Your text here</a:t>
            </a:r>
          </a:p>
          <a:p>
            <a:pPr lvl="1"/>
            <a:r>
              <a:rPr lang="nb-NO" noProof="0"/>
              <a:t>Text level 1</a:t>
            </a:r>
          </a:p>
          <a:p>
            <a:pPr lvl="2"/>
            <a:r>
              <a:rPr lang="nb-NO" noProof="0"/>
              <a:t>Text level 2</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nb-NO" noProof="0" smtClean="0"/>
              <a:pPr/>
              <a:t>‹#›</a:t>
            </a:fld>
            <a:r>
              <a:rPr lang="nb-NO" noProof="0" dirty="0"/>
              <a:t> ‒ </a:t>
            </a:r>
          </a:p>
        </p:txBody>
      </p:sp>
      <p:sp>
        <p:nvSpPr>
          <p:cNvPr id="7" name="Titre 6">
            <a:extLst>
              <a:ext uri="{FF2B5EF4-FFF2-40B4-BE49-F238E27FC236}">
                <a16:creationId xmlns:a16="http://schemas.microsoft.com/office/drawing/2014/main" id="{A8E7ED9E-A328-4987-9140-8AE92695412D}"/>
              </a:ext>
            </a:extLst>
          </p:cNvPr>
          <p:cNvSpPr>
            <a:spLocks noGrp="1"/>
          </p:cNvSpPr>
          <p:nvPr>
            <p:ph type="title"/>
          </p:nvPr>
        </p:nvSpPr>
        <p:spPr/>
        <p:txBody>
          <a:bodyPr/>
          <a:lstStyle>
            <a:lvl1pPr>
              <a:defRPr/>
            </a:lvl1pPr>
          </a:lstStyle>
          <a:p>
            <a:r>
              <a:rPr lang="nb-NO" noProof="0"/>
              <a:t>Klikk for å redigere tittelstil</a:t>
            </a:r>
            <a:endParaRPr lang="nb-NO" noProof="0" dirty="0"/>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2" name="Cadre 11">
            <a:extLst>
              <a:ext uri="{FF2B5EF4-FFF2-40B4-BE49-F238E27FC236}">
                <a16:creationId xmlns:a16="http://schemas.microsoft.com/office/drawing/2014/main" id="{F50CF662-962A-4D81-AF40-CA76C70585C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Tree>
    <p:extLst>
      <p:ext uri="{BB962C8B-B14F-4D97-AF65-F5344CB8AC3E}">
        <p14:creationId xmlns:p14="http://schemas.microsoft.com/office/powerpoint/2010/main" val="290954864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columns with divider">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4048492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30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dirty="0"/>
              <a:t>Your </a:t>
            </a:r>
            <a:r>
              <a:rPr lang="nb-NO" noProof="0" dirty="0" err="1"/>
              <a:t>text</a:t>
            </a:r>
            <a:r>
              <a:rPr lang="nb-NO" noProof="0" dirty="0"/>
              <a:t> </a:t>
            </a:r>
            <a:r>
              <a:rPr lang="nb-NO" noProof="0" dirty="0" err="1"/>
              <a:t>here</a:t>
            </a:r>
            <a:endParaRPr lang="nb-NO" noProof="0" dirty="0"/>
          </a:p>
          <a:p>
            <a:pPr lvl="1"/>
            <a:r>
              <a:rPr lang="nb-NO" noProof="0" dirty="0" err="1"/>
              <a:t>Text</a:t>
            </a:r>
            <a:r>
              <a:rPr lang="nb-NO" noProof="0" dirty="0"/>
              <a:t> </a:t>
            </a:r>
            <a:r>
              <a:rPr lang="nb-NO" noProof="0" dirty="0" err="1"/>
              <a:t>level</a:t>
            </a:r>
            <a:r>
              <a:rPr lang="nb-NO" noProof="0" dirty="0"/>
              <a:t> 1</a:t>
            </a:r>
          </a:p>
          <a:p>
            <a:pPr lvl="2"/>
            <a:r>
              <a:rPr lang="nb-NO" noProof="0" dirty="0" err="1"/>
              <a:t>Text</a:t>
            </a:r>
            <a:r>
              <a:rPr lang="nb-NO" noProof="0" dirty="0"/>
              <a:t> </a:t>
            </a:r>
            <a:r>
              <a:rPr lang="nb-NO" noProof="0" dirty="0" err="1"/>
              <a:t>level</a:t>
            </a:r>
            <a:r>
              <a:rPr lang="nb-NO" noProof="0" dirty="0"/>
              <a:t> 2</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80958" y="1808820"/>
            <a:ext cx="5511194"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Your text here</a:t>
            </a:r>
          </a:p>
          <a:p>
            <a:pPr lvl="1"/>
            <a:r>
              <a:rPr lang="nb-NO" noProof="0"/>
              <a:t>Text level 1</a:t>
            </a:r>
          </a:p>
          <a:p>
            <a:pPr lvl="2"/>
            <a:r>
              <a:rPr lang="nb-NO" noProof="0"/>
              <a:t>Text level 2</a:t>
            </a:r>
          </a:p>
        </p:txBody>
      </p:sp>
      <p:sp>
        <p:nvSpPr>
          <p:cNvPr id="6" name="Espace réservé du numéro de diapositive 5">
            <a:extLst>
              <a:ext uri="{FF2B5EF4-FFF2-40B4-BE49-F238E27FC236}">
                <a16:creationId xmlns:a16="http://schemas.microsoft.com/office/drawing/2014/main" id="{84B133EB-BD49-4C88-BF23-773A2466DB44}"/>
              </a:ext>
            </a:extLst>
          </p:cNvPr>
          <p:cNvSpPr>
            <a:spLocks noGrp="1"/>
          </p:cNvSpPr>
          <p:nvPr>
            <p:ph type="sldNum" sz="quarter" idx="17"/>
          </p:nvPr>
        </p:nvSpPr>
        <p:spPr/>
        <p:txBody>
          <a:bodyPr/>
          <a:lstStyle/>
          <a:p>
            <a:fld id="{D61AABEC-672F-4B68-B914-690DA978312C}" type="slidenum">
              <a:rPr lang="nb-NO" noProof="0" smtClean="0"/>
              <a:pPr/>
              <a:t>‹#›</a:t>
            </a:fld>
            <a:r>
              <a:rPr lang="nb-NO" noProof="0" dirty="0"/>
              <a:t> ‒ </a:t>
            </a:r>
          </a:p>
        </p:txBody>
      </p:sp>
      <p:sp>
        <p:nvSpPr>
          <p:cNvPr id="7" name="Titre 6">
            <a:extLst>
              <a:ext uri="{FF2B5EF4-FFF2-40B4-BE49-F238E27FC236}">
                <a16:creationId xmlns:a16="http://schemas.microsoft.com/office/drawing/2014/main" id="{A8E7ED9E-A328-4987-9140-8AE92695412D}"/>
              </a:ext>
            </a:extLst>
          </p:cNvPr>
          <p:cNvSpPr>
            <a:spLocks noGrp="1"/>
          </p:cNvSpPr>
          <p:nvPr>
            <p:ph type="title"/>
          </p:nvPr>
        </p:nvSpPr>
        <p:spPr/>
        <p:txBody>
          <a:bodyPr/>
          <a:lstStyle>
            <a:lvl1pPr>
              <a:defRPr/>
            </a:lvl1pPr>
          </a:lstStyle>
          <a:p>
            <a:r>
              <a:rPr lang="nb-NO" noProof="0"/>
              <a:t>Klikk for å redigere tittelstil</a:t>
            </a:r>
            <a:endParaRPr lang="nb-NO" noProof="0" dirty="0"/>
          </a:p>
        </p:txBody>
      </p:sp>
      <p:sp>
        <p:nvSpPr>
          <p:cNvPr id="11" name="Text Placeholder 8">
            <a:extLst>
              <a:ext uri="{FF2B5EF4-FFF2-40B4-BE49-F238E27FC236}">
                <a16:creationId xmlns:a16="http://schemas.microsoft.com/office/drawing/2014/main" id="{1280ACD6-00A9-4C39-A87C-3E9B0191EBE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cxnSp>
        <p:nvCxnSpPr>
          <p:cNvPr id="12" name="Straight Connector 35">
            <a:extLst>
              <a:ext uri="{FF2B5EF4-FFF2-40B4-BE49-F238E27FC236}">
                <a16:creationId xmlns:a16="http://schemas.microsoft.com/office/drawing/2014/main" id="{C67592C2-0DB8-4942-A571-6655A988B75E}"/>
              </a:ext>
            </a:extLst>
          </p:cNvPr>
          <p:cNvCxnSpPr>
            <a:cxnSpLocks/>
          </p:cNvCxnSpPr>
          <p:nvPr userDrawn="1"/>
        </p:nvCxnSpPr>
        <p:spPr>
          <a:xfrm flipV="1">
            <a:off x="609593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4" name="Cadre 13">
            <a:extLst>
              <a:ext uri="{FF2B5EF4-FFF2-40B4-BE49-F238E27FC236}">
                <a16:creationId xmlns:a16="http://schemas.microsoft.com/office/drawing/2014/main" id="{4D96FD51-B9F2-4FE7-B772-503E351E589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13" name="Text Placeholder 5">
            <a:extLst>
              <a:ext uri="{FF2B5EF4-FFF2-40B4-BE49-F238E27FC236}">
                <a16:creationId xmlns:a16="http://schemas.microsoft.com/office/drawing/2014/main" id="{4C0DD1BE-AC17-4952-9446-02C5E9403249}"/>
              </a:ext>
            </a:extLst>
          </p:cNvPr>
          <p:cNvSpPr>
            <a:spLocks noGrp="1"/>
          </p:cNvSpPr>
          <p:nvPr>
            <p:ph type="body" sz="quarter" idx="16"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rgbClr val="2F469C"/>
                </a:solidFill>
              </a:defRPr>
            </a:lvl1pPr>
          </a:lstStyle>
          <a:p>
            <a:pPr lvl="0"/>
            <a:r>
              <a:rPr lang="nb-NO" noProof="0" dirty="0" err="1"/>
              <a:t>Subtitle</a:t>
            </a:r>
            <a:r>
              <a:rPr lang="nb-NO" noProof="0" dirty="0"/>
              <a:t> </a:t>
            </a:r>
            <a:r>
              <a:rPr lang="nb-NO" noProof="0" dirty="0" err="1"/>
              <a:t>of</a:t>
            </a:r>
            <a:r>
              <a:rPr lang="nb-NO" noProof="0" dirty="0"/>
              <a:t> </a:t>
            </a:r>
            <a:r>
              <a:rPr lang="nb-NO" noProof="0" dirty="0" err="1"/>
              <a:t>the</a:t>
            </a:r>
            <a:r>
              <a:rPr lang="nb-NO" noProof="0" dirty="0"/>
              <a:t> slide</a:t>
            </a:r>
          </a:p>
        </p:txBody>
      </p:sp>
    </p:spTree>
    <p:extLst>
      <p:ext uri="{BB962C8B-B14F-4D97-AF65-F5344CB8AC3E}">
        <p14:creationId xmlns:p14="http://schemas.microsoft.com/office/powerpoint/2010/main" val="95933729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490776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41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 typeface="Arial" panose="020B0604020202020204" pitchFamily="34" charset="0"/>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dirty="0" err="1"/>
              <a:t>Click</a:t>
            </a:r>
            <a:r>
              <a:rPr lang="nb-NO" noProof="0" dirty="0"/>
              <a:t> to </a:t>
            </a:r>
            <a:r>
              <a:rPr lang="nb-NO" noProof="0" dirty="0" err="1"/>
              <a:t>change</a:t>
            </a:r>
            <a:r>
              <a:rPr lang="nb-NO" noProof="0" dirty="0"/>
              <a:t> </a:t>
            </a:r>
            <a:r>
              <a:rPr lang="nb-NO" noProof="0" dirty="0" err="1"/>
              <a:t>the</a:t>
            </a:r>
            <a:r>
              <a:rPr lang="nb-NO" noProof="0" dirty="0"/>
              <a:t> </a:t>
            </a:r>
            <a:r>
              <a:rPr lang="nb-NO" noProof="0" dirty="0" err="1"/>
              <a:t>text</a:t>
            </a:r>
            <a:r>
              <a:rPr lang="nb-NO" noProof="0" dirty="0"/>
              <a:t> styles </a:t>
            </a:r>
            <a:r>
              <a:rPr lang="nb-NO" noProof="0" dirty="0" err="1"/>
              <a:t>on</a:t>
            </a:r>
            <a:r>
              <a:rPr lang="nb-NO" noProof="0" dirty="0"/>
              <a:t> </a:t>
            </a:r>
            <a:r>
              <a:rPr lang="nb-NO" noProof="0" dirty="0" err="1"/>
              <a:t>the</a:t>
            </a:r>
            <a:r>
              <a:rPr lang="nb-NO" noProof="0" dirty="0"/>
              <a:t> slide master</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 typeface="Arial" panose="020B0604020202020204" pitchFamily="34" charset="0"/>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dirty="0" err="1"/>
              <a:t>Click</a:t>
            </a:r>
            <a:r>
              <a:rPr lang="nb-NO" noProof="0" dirty="0"/>
              <a:t> to </a:t>
            </a:r>
            <a:r>
              <a:rPr lang="nb-NO" noProof="0" dirty="0" err="1"/>
              <a:t>change</a:t>
            </a:r>
            <a:r>
              <a:rPr lang="nb-NO" noProof="0" dirty="0"/>
              <a:t> </a:t>
            </a:r>
            <a:r>
              <a:rPr lang="nb-NO" noProof="0" dirty="0" err="1"/>
              <a:t>the</a:t>
            </a:r>
            <a:r>
              <a:rPr lang="nb-NO" noProof="0" dirty="0"/>
              <a:t> </a:t>
            </a:r>
            <a:r>
              <a:rPr lang="nb-NO" noProof="0" dirty="0" err="1"/>
              <a:t>text</a:t>
            </a:r>
            <a:r>
              <a:rPr lang="nb-NO" noProof="0" dirty="0"/>
              <a:t> styles </a:t>
            </a:r>
            <a:r>
              <a:rPr lang="nb-NO" noProof="0" dirty="0" err="1"/>
              <a:t>on</a:t>
            </a:r>
            <a:r>
              <a:rPr lang="nb-NO" noProof="0" dirty="0"/>
              <a:t> </a:t>
            </a:r>
            <a:r>
              <a:rPr lang="nb-NO" noProof="0" dirty="0" err="1"/>
              <a:t>the</a:t>
            </a:r>
            <a:r>
              <a:rPr lang="nb-NO" noProof="0" dirty="0"/>
              <a:t> slide master</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 typeface="Arial" panose="020B0604020202020204" pitchFamily="34" charset="0"/>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dirty="0" err="1"/>
              <a:t>Click</a:t>
            </a:r>
            <a:r>
              <a:rPr lang="nb-NO" noProof="0" dirty="0"/>
              <a:t> to </a:t>
            </a:r>
            <a:r>
              <a:rPr lang="nb-NO" noProof="0" dirty="0" err="1"/>
              <a:t>change</a:t>
            </a:r>
            <a:r>
              <a:rPr lang="nb-NO" noProof="0" dirty="0"/>
              <a:t> </a:t>
            </a:r>
            <a:r>
              <a:rPr lang="nb-NO" noProof="0" dirty="0" err="1"/>
              <a:t>the</a:t>
            </a:r>
            <a:r>
              <a:rPr lang="nb-NO" noProof="0" dirty="0"/>
              <a:t> </a:t>
            </a:r>
            <a:r>
              <a:rPr lang="nb-NO" noProof="0" dirty="0" err="1"/>
              <a:t>text</a:t>
            </a:r>
            <a:r>
              <a:rPr lang="nb-NO" noProof="0" dirty="0"/>
              <a:t> styles </a:t>
            </a:r>
            <a:r>
              <a:rPr lang="nb-NO" noProof="0" dirty="0" err="1"/>
              <a:t>on</a:t>
            </a:r>
            <a:r>
              <a:rPr lang="nb-NO" noProof="0" dirty="0"/>
              <a:t> </a:t>
            </a:r>
            <a:r>
              <a:rPr lang="nb-NO" noProof="0" dirty="0" err="1"/>
              <a:t>the</a:t>
            </a:r>
            <a:r>
              <a:rPr lang="nb-NO" noProof="0" dirty="0"/>
              <a:t> slide master</a:t>
            </a:r>
          </a:p>
          <a:p>
            <a:pPr lvl="1"/>
            <a:r>
              <a:rPr lang="nb-NO" noProof="0" dirty="0"/>
              <a:t>Second </a:t>
            </a:r>
            <a:r>
              <a:rPr lang="nb-NO" noProof="0" dirty="0" err="1"/>
              <a:t>level</a:t>
            </a:r>
            <a:r>
              <a:rPr lang="nb-NO" noProof="0" dirty="0"/>
              <a:t> </a:t>
            </a:r>
          </a:p>
          <a:p>
            <a:pPr lvl="2"/>
            <a:r>
              <a:rPr lang="nb-NO" noProof="0" dirty="0"/>
              <a:t>Third </a:t>
            </a:r>
            <a:r>
              <a:rPr lang="nb-NO" noProof="0" dirty="0" err="1"/>
              <a:t>level</a:t>
            </a:r>
            <a:endParaRPr lang="nb-NO" noProof="0" dirty="0"/>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p:txBody>
          <a:bodyPr/>
          <a:lstStyle>
            <a:lvl1pPr>
              <a:defRPr/>
            </a:lvl1pPr>
          </a:lstStyle>
          <a:p>
            <a:r>
              <a:rPr lang="nb-NO" noProof="0"/>
              <a:t>Klikk for å redigere tittelstil</a:t>
            </a:r>
            <a:endParaRPr lang="nb-NO" noProof="0" dirty="0"/>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7" name="Cadre 16">
            <a:extLst>
              <a:ext uri="{FF2B5EF4-FFF2-40B4-BE49-F238E27FC236}">
                <a16:creationId xmlns:a16="http://schemas.microsoft.com/office/drawing/2014/main" id="{05F617A1-E6DF-48EA-BCD2-4A8DD8E15AE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13" name="Text Placeholder 5">
            <a:extLst>
              <a:ext uri="{FF2B5EF4-FFF2-40B4-BE49-F238E27FC236}">
                <a16:creationId xmlns:a16="http://schemas.microsoft.com/office/drawing/2014/main" id="{6996802E-D8E8-4CD9-9D0F-27D6D824F54B}"/>
              </a:ext>
            </a:extLst>
          </p:cNvPr>
          <p:cNvSpPr>
            <a:spLocks noGrp="1"/>
          </p:cNvSpPr>
          <p:nvPr>
            <p:ph type="body" sz="quarter" idx="19"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rgbClr val="2F469C"/>
                </a:solidFill>
              </a:defRPr>
            </a:lvl1pPr>
          </a:lstStyle>
          <a:p>
            <a:pPr lvl="0"/>
            <a:r>
              <a:rPr lang="nb-NO" noProof="0" dirty="0" err="1"/>
              <a:t>Subtitle</a:t>
            </a:r>
            <a:r>
              <a:rPr lang="nb-NO" noProof="0" dirty="0"/>
              <a:t> </a:t>
            </a:r>
            <a:r>
              <a:rPr lang="nb-NO" noProof="0" dirty="0" err="1"/>
              <a:t>of</a:t>
            </a:r>
            <a:r>
              <a:rPr lang="nb-NO" noProof="0" dirty="0"/>
              <a:t> </a:t>
            </a:r>
            <a:r>
              <a:rPr lang="nb-NO" noProof="0" dirty="0" err="1"/>
              <a:t>the</a:t>
            </a:r>
            <a:r>
              <a:rPr lang="nb-NO" noProof="0" dirty="0"/>
              <a:t> slide</a:t>
            </a:r>
          </a:p>
        </p:txBody>
      </p:sp>
    </p:spTree>
    <p:extLst>
      <p:ext uri="{BB962C8B-B14F-4D97-AF65-F5344CB8AC3E}">
        <p14:creationId xmlns:p14="http://schemas.microsoft.com/office/powerpoint/2010/main" val="1643958615"/>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77064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33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dirty="0" err="1"/>
              <a:t>Click</a:t>
            </a:r>
            <a:r>
              <a:rPr lang="nb-NO" noProof="0" dirty="0"/>
              <a:t> to </a:t>
            </a:r>
            <a:r>
              <a:rPr lang="nb-NO" noProof="0" dirty="0" err="1"/>
              <a:t>change</a:t>
            </a:r>
            <a:r>
              <a:rPr lang="nb-NO" noProof="0" dirty="0"/>
              <a:t> </a:t>
            </a:r>
            <a:r>
              <a:rPr lang="nb-NO" noProof="0" dirty="0" err="1"/>
              <a:t>the</a:t>
            </a:r>
            <a:r>
              <a:rPr lang="nb-NO" noProof="0" dirty="0"/>
              <a:t> </a:t>
            </a:r>
            <a:r>
              <a:rPr lang="nb-NO" noProof="0" dirty="0" err="1"/>
              <a:t>text</a:t>
            </a:r>
            <a:r>
              <a:rPr lang="nb-NO" noProof="0" dirty="0"/>
              <a:t> styles </a:t>
            </a:r>
            <a:r>
              <a:rPr lang="nb-NO" noProof="0" dirty="0" err="1"/>
              <a:t>on</a:t>
            </a:r>
            <a:r>
              <a:rPr lang="nb-NO" noProof="0" dirty="0"/>
              <a:t> </a:t>
            </a:r>
            <a:r>
              <a:rPr lang="nb-NO" noProof="0" dirty="0" err="1"/>
              <a:t>the</a:t>
            </a:r>
            <a:r>
              <a:rPr lang="nb-NO" noProof="0" dirty="0"/>
              <a:t> slide master</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tx1"/>
                </a:solidFill>
              </a:defRPr>
            </a:lvl1pPr>
            <a:lvl2pPr marL="447675" indent="-314325">
              <a:buFontTx/>
              <a:buBlip>
                <a:blip r:embed="rId7"/>
              </a:buBlip>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a:t>Click to change the text styles on the slide master</a:t>
            </a:r>
          </a:p>
          <a:p>
            <a:pPr lvl="1"/>
            <a:r>
              <a:rPr lang="nb-NO" noProof="0"/>
              <a:t>Second level</a:t>
            </a:r>
          </a:p>
          <a:p>
            <a:pPr lvl="2"/>
            <a:r>
              <a:rPr lang="nb-NO" noProof="0"/>
              <a:t>Third level</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p:nvPr>
        </p:nvSpPr>
        <p:spPr/>
        <p:txBody>
          <a:bodyPr/>
          <a:lstStyle>
            <a:lvl1pPr>
              <a:defRPr/>
            </a:lvl1pPr>
          </a:lstStyle>
          <a:p>
            <a:r>
              <a:rPr lang="nb-NO" noProof="0"/>
              <a:t>Klikk for å redigere tittelstil</a:t>
            </a:r>
            <a:endParaRPr lang="nb-NO" noProof="0" dirty="0"/>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cxnSp>
        <p:nvCxnSpPr>
          <p:cNvPr id="15" name="Straight Connector 35">
            <a:extLst>
              <a:ext uri="{FF2B5EF4-FFF2-40B4-BE49-F238E27FC236}">
                <a16:creationId xmlns:a16="http://schemas.microsoft.com/office/drawing/2014/main" id="{418BE7AA-B05F-40FC-BE65-334D5A780A55}"/>
              </a:ext>
            </a:extLst>
          </p:cNvPr>
          <p:cNvCxnSpPr>
            <a:cxnSpLocks/>
          </p:cNvCxnSpPr>
          <p:nvPr userDrawn="1"/>
        </p:nvCxnSpPr>
        <p:spPr>
          <a:xfrm flipV="1">
            <a:off x="4158848"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8E28A143-6AE4-4026-8B3B-9C8721F9340E}"/>
              </a:ext>
            </a:extLst>
          </p:cNvPr>
          <p:cNvCxnSpPr>
            <a:cxnSpLocks/>
          </p:cNvCxnSpPr>
          <p:nvPr userDrawn="1"/>
        </p:nvCxnSpPr>
        <p:spPr>
          <a:xfrm flipV="1">
            <a:off x="803313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adre 16">
            <a:extLst>
              <a:ext uri="{FF2B5EF4-FFF2-40B4-BE49-F238E27FC236}">
                <a16:creationId xmlns:a16="http://schemas.microsoft.com/office/drawing/2014/main" id="{919C6419-FFDB-4B8E-901B-D29524A82EF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19" name="Text Placeholder 5">
            <a:extLst>
              <a:ext uri="{FF2B5EF4-FFF2-40B4-BE49-F238E27FC236}">
                <a16:creationId xmlns:a16="http://schemas.microsoft.com/office/drawing/2014/main" id="{6BB5132D-F6F6-4C86-AA5F-0E62EBCAC583}"/>
              </a:ext>
            </a:extLst>
          </p:cNvPr>
          <p:cNvSpPr>
            <a:spLocks noGrp="1"/>
          </p:cNvSpPr>
          <p:nvPr>
            <p:ph type="body" sz="quarter" idx="19"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rgbClr val="2F469C"/>
                </a:solidFill>
              </a:defRPr>
            </a:lvl1pPr>
          </a:lstStyle>
          <a:p>
            <a:pPr lvl="0"/>
            <a:r>
              <a:rPr lang="nb-NO" noProof="0"/>
              <a:t>Subtitle of the slide</a:t>
            </a:r>
          </a:p>
        </p:txBody>
      </p:sp>
    </p:spTree>
    <p:extLst>
      <p:ext uri="{BB962C8B-B14F-4D97-AF65-F5344CB8AC3E}">
        <p14:creationId xmlns:p14="http://schemas.microsoft.com/office/powerpoint/2010/main" val="23149550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extLst>
              <p:ext uri="{D42A27DB-BD31-4B8C-83A1-F6EECF244321}">
                <p14:modId xmlns:p14="http://schemas.microsoft.com/office/powerpoint/2010/main" val="3952047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39" name="Diapositive think-cell" r:id="rId6" imgW="532" imgH="530" progId="TCLayout.ActiveDocument.1">
                  <p:embed/>
                </p:oleObj>
              </mc:Choice>
              <mc:Fallback>
                <p:oleObj name="Diapositive think-cell" r:id="rId6" imgW="532" imgH="53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noProof="0"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noProof="0"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61665"/>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dirty="0"/>
              <a:t>Undertittel</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669121" cy="215444"/>
          </a:xfrm>
          <a:prstGeom prst="rect">
            <a:avLst/>
          </a:prstGeom>
        </p:spPr>
        <p:txBody>
          <a:bodyPr wrap="none" lIns="108000" tIns="0" rIns="180000" bIns="0">
            <a:spAutoFit/>
          </a:bodyPr>
          <a:lstStyle>
            <a:lvl1pPr>
              <a:defRPr sz="1400">
                <a:solidFill>
                  <a:schemeClr val="bg1"/>
                </a:solidFill>
              </a:defRPr>
            </a:lvl1pPr>
          </a:lstStyle>
          <a:p>
            <a:r>
              <a:rPr lang="nb-NO" dirty="0"/>
              <a:t>Dato</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9207" y="521852"/>
            <a:ext cx="7551997" cy="2475348"/>
          </a:xfrm>
        </p:spPr>
        <p:txBody>
          <a:bodyPr lIns="72000" anchor="t">
            <a:noAutofit/>
          </a:bodyPr>
          <a:lstStyle>
            <a:lvl1pPr algn="l">
              <a:lnSpc>
                <a:spcPct val="80000"/>
              </a:lnSpc>
              <a:defRPr sz="6000" b="1" cap="all" spc="-200" baseline="0">
                <a:solidFill>
                  <a:schemeClr val="bg1"/>
                </a:solidFill>
                <a:latin typeface="Arial Black" panose="020B0A04020102020204" pitchFamily="34" charset="0"/>
              </a:defRPr>
            </a:lvl1pPr>
          </a:lstStyle>
          <a:p>
            <a:r>
              <a:rPr lang="nb-NO" noProof="0" dirty="0"/>
              <a:t>Tittel </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1120550" cy="400110"/>
          </a:xfrm>
          <a:prstGeom prst="rect">
            <a:avLst/>
          </a:prstGeom>
        </p:spPr>
        <p:txBody>
          <a:bodyPr wrap="none" lIns="10800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noProof="0" dirty="0"/>
              <a:t>Ditt navn</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6" name="Image 15" descr="Une image contenant objet&#10;&#10;Description générée automatiquement">
            <a:extLst>
              <a:ext uri="{FF2B5EF4-FFF2-40B4-BE49-F238E27FC236}">
                <a16:creationId xmlns:a16="http://schemas.microsoft.com/office/drawing/2014/main" id="{5919B4CD-5E7E-4686-8385-C8E06F74C4D8}"/>
              </a:ext>
            </a:extLst>
          </p:cNvPr>
          <p:cNvPicPr>
            <a:picLocks noChangeAspect="1"/>
          </p:cNvPicPr>
          <p:nvPr userDrawn="1"/>
        </p:nvPicPr>
        <p:blipFill rotWithShape="1">
          <a:blip r:embed="rId8">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14" name="Graphique 12">
            <a:extLst>
              <a:ext uri="{FF2B5EF4-FFF2-40B4-BE49-F238E27FC236}">
                <a16:creationId xmlns:a16="http://schemas.microsoft.com/office/drawing/2014/main" id="{33FF114A-8E2E-4078-8447-E6672F2878CC}"/>
              </a:ext>
            </a:extLst>
          </p:cNvPr>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5" name="Cadre 14">
            <a:extLst>
              <a:ext uri="{FF2B5EF4-FFF2-40B4-BE49-F238E27FC236}">
                <a16:creationId xmlns:a16="http://schemas.microsoft.com/office/drawing/2014/main" id="{FBAD0157-C8A9-43A3-BB2C-AE46F0750E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Tree>
    <p:extLst>
      <p:ext uri="{BB962C8B-B14F-4D97-AF65-F5344CB8AC3E}">
        <p14:creationId xmlns:p14="http://schemas.microsoft.com/office/powerpoint/2010/main" val="3745595763"/>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29" userDrawn="1">
          <p15:clr>
            <a:srgbClr val="F26B43"/>
          </p15:clr>
        </p15:guide>
        <p15:guide id="4" orient="horz" pos="1888" userDrawn="1">
          <p15:clr>
            <a:srgbClr val="F26B43"/>
          </p15:clr>
        </p15:guide>
        <p15:guide id="5" orient="horz" pos="3317" userDrawn="1">
          <p15:clr>
            <a:srgbClr val="F26B43"/>
          </p15:clr>
        </p15:guide>
        <p15:guide id="6" orient="horz" pos="3929" userDrawn="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 column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6391565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35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nb-NO" noProof="0"/>
              <a:t>Title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6" name="Content Placeholder 2">
            <a:extLst>
              <a:ext uri="{FF2B5EF4-FFF2-40B4-BE49-F238E27FC236}">
                <a16:creationId xmlns:a16="http://schemas.microsoft.com/office/drawing/2014/main" id="{C3448DD5-93B4-4A86-B5D7-CD4057F61538}"/>
              </a:ext>
            </a:extLst>
          </p:cNvPr>
          <p:cNvSpPr>
            <a:spLocks noGrp="1"/>
          </p:cNvSpPr>
          <p:nvPr>
            <p:ph idx="1" hasCustomPrompt="1"/>
          </p:nvPr>
        </p:nvSpPr>
        <p:spPr>
          <a:xfrm>
            <a:off x="40478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 typeface="Arial" panose="020B0604020202020204" pitchFamily="34" charset="0"/>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dirty="0" err="1"/>
              <a:t>Click</a:t>
            </a:r>
            <a:r>
              <a:rPr lang="nb-NO" noProof="0" dirty="0"/>
              <a:t> to </a:t>
            </a:r>
            <a:r>
              <a:rPr lang="nb-NO" noProof="0" dirty="0" err="1"/>
              <a:t>change</a:t>
            </a:r>
            <a:r>
              <a:rPr lang="nb-NO" noProof="0" dirty="0"/>
              <a:t> </a:t>
            </a:r>
            <a:r>
              <a:rPr lang="nb-NO" noProof="0" dirty="0" err="1"/>
              <a:t>the</a:t>
            </a:r>
            <a:r>
              <a:rPr lang="nb-NO" noProof="0" dirty="0"/>
              <a:t> </a:t>
            </a:r>
            <a:r>
              <a:rPr lang="nb-NO" noProof="0" dirty="0" err="1"/>
              <a:t>text</a:t>
            </a:r>
            <a:r>
              <a:rPr lang="nb-NO" noProof="0" dirty="0"/>
              <a:t> styles </a:t>
            </a:r>
            <a:r>
              <a:rPr lang="nb-NO" noProof="0" dirty="0" err="1"/>
              <a:t>on</a:t>
            </a:r>
            <a:r>
              <a:rPr lang="nb-NO" noProof="0" dirty="0"/>
              <a:t> </a:t>
            </a:r>
            <a:r>
              <a:rPr lang="nb-NO" noProof="0" dirty="0" err="1"/>
              <a:t>the</a:t>
            </a:r>
            <a:r>
              <a:rPr lang="nb-NO" noProof="0" dirty="0"/>
              <a:t> slide master</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17" name="Content Placeholder 2">
            <a:extLst>
              <a:ext uri="{FF2B5EF4-FFF2-40B4-BE49-F238E27FC236}">
                <a16:creationId xmlns:a16="http://schemas.microsoft.com/office/drawing/2014/main" id="{3D580420-D108-4DFA-B447-3503E53C92F1}"/>
              </a:ext>
            </a:extLst>
          </p:cNvPr>
          <p:cNvSpPr>
            <a:spLocks noGrp="1"/>
          </p:cNvSpPr>
          <p:nvPr>
            <p:ph idx="15" hasCustomPrompt="1"/>
          </p:nvPr>
        </p:nvSpPr>
        <p:spPr>
          <a:xfrm>
            <a:off x="3309868"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 typeface="Arial" panose="020B0604020202020204" pitchFamily="34" charset="0"/>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dirty="0" err="1"/>
              <a:t>Click</a:t>
            </a:r>
            <a:r>
              <a:rPr lang="nb-NO" noProof="0" dirty="0"/>
              <a:t> to </a:t>
            </a:r>
            <a:r>
              <a:rPr lang="nb-NO" noProof="0" dirty="0" err="1"/>
              <a:t>change</a:t>
            </a:r>
            <a:r>
              <a:rPr lang="nb-NO" noProof="0" dirty="0"/>
              <a:t> </a:t>
            </a:r>
            <a:r>
              <a:rPr lang="nb-NO" noProof="0" dirty="0" err="1"/>
              <a:t>the</a:t>
            </a:r>
            <a:r>
              <a:rPr lang="nb-NO" noProof="0" dirty="0"/>
              <a:t> </a:t>
            </a:r>
            <a:r>
              <a:rPr lang="nb-NO" noProof="0" dirty="0" err="1"/>
              <a:t>text</a:t>
            </a:r>
            <a:r>
              <a:rPr lang="nb-NO" noProof="0" dirty="0"/>
              <a:t> styles </a:t>
            </a:r>
            <a:r>
              <a:rPr lang="nb-NO" noProof="0" dirty="0" err="1"/>
              <a:t>on</a:t>
            </a:r>
            <a:r>
              <a:rPr lang="nb-NO" noProof="0" dirty="0"/>
              <a:t> </a:t>
            </a:r>
            <a:r>
              <a:rPr lang="nb-NO" noProof="0" dirty="0" err="1"/>
              <a:t>the</a:t>
            </a:r>
            <a:r>
              <a:rPr lang="nb-NO" noProof="0" dirty="0"/>
              <a:t> slide master</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18" name="Content Placeholder 2">
            <a:extLst>
              <a:ext uri="{FF2B5EF4-FFF2-40B4-BE49-F238E27FC236}">
                <a16:creationId xmlns:a16="http://schemas.microsoft.com/office/drawing/2014/main" id="{22215690-EA4B-4816-B47C-BFB80C4C015D}"/>
              </a:ext>
            </a:extLst>
          </p:cNvPr>
          <p:cNvSpPr>
            <a:spLocks noGrp="1"/>
          </p:cNvSpPr>
          <p:nvPr>
            <p:ph idx="16" hasCustomPrompt="1"/>
          </p:nvPr>
        </p:nvSpPr>
        <p:spPr>
          <a:xfrm>
            <a:off x="6214951"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 typeface="Arial" panose="020B0604020202020204" pitchFamily="34" charset="0"/>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dirty="0" err="1"/>
              <a:t>Click</a:t>
            </a:r>
            <a:r>
              <a:rPr lang="nb-NO" noProof="0" dirty="0"/>
              <a:t> to </a:t>
            </a:r>
            <a:r>
              <a:rPr lang="nb-NO" noProof="0" dirty="0" err="1"/>
              <a:t>change</a:t>
            </a:r>
            <a:r>
              <a:rPr lang="nb-NO" noProof="0" dirty="0"/>
              <a:t> </a:t>
            </a:r>
            <a:r>
              <a:rPr lang="nb-NO" noProof="0" dirty="0" err="1"/>
              <a:t>the</a:t>
            </a:r>
            <a:r>
              <a:rPr lang="nb-NO" noProof="0" dirty="0"/>
              <a:t> </a:t>
            </a:r>
            <a:r>
              <a:rPr lang="nb-NO" noProof="0" dirty="0" err="1"/>
              <a:t>text</a:t>
            </a:r>
            <a:r>
              <a:rPr lang="nb-NO" noProof="0" dirty="0"/>
              <a:t> styles </a:t>
            </a:r>
            <a:r>
              <a:rPr lang="nb-NO" noProof="0" dirty="0" err="1"/>
              <a:t>on</a:t>
            </a:r>
            <a:r>
              <a:rPr lang="nb-NO" noProof="0" dirty="0"/>
              <a:t> </a:t>
            </a:r>
            <a:r>
              <a:rPr lang="nb-NO" noProof="0" dirty="0" err="1"/>
              <a:t>the</a:t>
            </a:r>
            <a:r>
              <a:rPr lang="nb-NO" noProof="0" dirty="0"/>
              <a:t> slide master</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19" name="Content Placeholder 2">
            <a:extLst>
              <a:ext uri="{FF2B5EF4-FFF2-40B4-BE49-F238E27FC236}">
                <a16:creationId xmlns:a16="http://schemas.microsoft.com/office/drawing/2014/main" id="{17D90A67-975F-482E-9AB6-7B0ED64C41FE}"/>
              </a:ext>
            </a:extLst>
          </p:cNvPr>
          <p:cNvSpPr>
            <a:spLocks noGrp="1"/>
          </p:cNvSpPr>
          <p:nvPr>
            <p:ph idx="19" hasCustomPrompt="1"/>
          </p:nvPr>
        </p:nvSpPr>
        <p:spPr>
          <a:xfrm>
            <a:off x="912003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 typeface="Arial" panose="020B0604020202020204" pitchFamily="34" charset="0"/>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dirty="0" err="1"/>
              <a:t>Click</a:t>
            </a:r>
            <a:r>
              <a:rPr lang="nb-NO" noProof="0" dirty="0"/>
              <a:t> to </a:t>
            </a:r>
            <a:r>
              <a:rPr lang="nb-NO" noProof="0" dirty="0" err="1"/>
              <a:t>change</a:t>
            </a:r>
            <a:r>
              <a:rPr lang="nb-NO" noProof="0" dirty="0"/>
              <a:t> </a:t>
            </a:r>
            <a:r>
              <a:rPr lang="nb-NO" noProof="0" dirty="0" err="1"/>
              <a:t>the</a:t>
            </a:r>
            <a:r>
              <a:rPr lang="nb-NO" noProof="0" dirty="0"/>
              <a:t> </a:t>
            </a:r>
            <a:r>
              <a:rPr lang="nb-NO" noProof="0" dirty="0" err="1"/>
              <a:t>text</a:t>
            </a:r>
            <a:r>
              <a:rPr lang="nb-NO" noProof="0" dirty="0"/>
              <a:t> styles </a:t>
            </a:r>
            <a:r>
              <a:rPr lang="nb-NO" noProof="0" dirty="0" err="1"/>
              <a:t>on</a:t>
            </a:r>
            <a:r>
              <a:rPr lang="nb-NO" noProof="0" dirty="0"/>
              <a:t> </a:t>
            </a:r>
            <a:r>
              <a:rPr lang="nb-NO" noProof="0" dirty="0" err="1"/>
              <a:t>the</a:t>
            </a:r>
            <a:r>
              <a:rPr lang="nb-NO" noProof="0" dirty="0"/>
              <a:t> slide master</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20" name="Cadre 19">
            <a:extLst>
              <a:ext uri="{FF2B5EF4-FFF2-40B4-BE49-F238E27FC236}">
                <a16:creationId xmlns:a16="http://schemas.microsoft.com/office/drawing/2014/main" id="{886789B0-90FF-4F37-9433-42344C0A572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13" name="Text Placeholder 5">
            <a:extLst>
              <a:ext uri="{FF2B5EF4-FFF2-40B4-BE49-F238E27FC236}">
                <a16:creationId xmlns:a16="http://schemas.microsoft.com/office/drawing/2014/main" id="{280BA077-27FC-41FB-9A93-6BD14A48D7F0}"/>
              </a:ext>
            </a:extLst>
          </p:cNvPr>
          <p:cNvSpPr>
            <a:spLocks noGrp="1"/>
          </p:cNvSpPr>
          <p:nvPr>
            <p:ph type="body" sz="quarter" idx="20"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rgbClr val="2F469C"/>
                </a:solidFill>
              </a:defRPr>
            </a:lvl1pPr>
          </a:lstStyle>
          <a:p>
            <a:pPr lvl="0"/>
            <a:r>
              <a:rPr lang="nb-NO" noProof="0" dirty="0" err="1"/>
              <a:t>Subtitle</a:t>
            </a:r>
            <a:r>
              <a:rPr lang="nb-NO" noProof="0" dirty="0"/>
              <a:t> </a:t>
            </a:r>
            <a:r>
              <a:rPr lang="nb-NO" noProof="0" dirty="0" err="1"/>
              <a:t>of</a:t>
            </a:r>
            <a:r>
              <a:rPr lang="nb-NO" noProof="0" dirty="0"/>
              <a:t> </a:t>
            </a:r>
            <a:r>
              <a:rPr lang="nb-NO" noProof="0" dirty="0" err="1"/>
              <a:t>the</a:t>
            </a:r>
            <a:r>
              <a:rPr lang="nb-NO" noProof="0" dirty="0"/>
              <a:t> slide</a:t>
            </a:r>
          </a:p>
        </p:txBody>
      </p:sp>
    </p:spTree>
    <p:extLst>
      <p:ext uri="{BB962C8B-B14F-4D97-AF65-F5344CB8AC3E}">
        <p14:creationId xmlns:p14="http://schemas.microsoft.com/office/powerpoint/2010/main" val="399646241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4 columns with dividers">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479085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37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 typeface="Arial" panose="020B0604020202020204" pitchFamily="34" charset="0"/>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dirty="0" err="1"/>
              <a:t>Click</a:t>
            </a:r>
            <a:r>
              <a:rPr lang="nb-NO" noProof="0" dirty="0"/>
              <a:t> to </a:t>
            </a:r>
            <a:r>
              <a:rPr lang="nb-NO" noProof="0" dirty="0" err="1"/>
              <a:t>change</a:t>
            </a:r>
            <a:r>
              <a:rPr lang="nb-NO" noProof="0" dirty="0"/>
              <a:t> </a:t>
            </a:r>
            <a:r>
              <a:rPr lang="nb-NO" noProof="0" dirty="0" err="1"/>
              <a:t>the</a:t>
            </a:r>
            <a:r>
              <a:rPr lang="nb-NO" noProof="0" dirty="0"/>
              <a:t> </a:t>
            </a:r>
            <a:r>
              <a:rPr lang="nb-NO" noProof="0" dirty="0" err="1"/>
              <a:t>text</a:t>
            </a:r>
            <a:r>
              <a:rPr lang="nb-NO" noProof="0" dirty="0"/>
              <a:t> styles </a:t>
            </a:r>
            <a:r>
              <a:rPr lang="nb-NO" noProof="0" dirty="0" err="1"/>
              <a:t>on</a:t>
            </a:r>
            <a:r>
              <a:rPr lang="nb-NO" noProof="0" dirty="0"/>
              <a:t> </a:t>
            </a:r>
            <a:r>
              <a:rPr lang="nb-NO" noProof="0" dirty="0" err="1"/>
              <a:t>the</a:t>
            </a:r>
            <a:r>
              <a:rPr lang="nb-NO" noProof="0" dirty="0"/>
              <a:t> slide master</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3309868"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 typeface="Arial" panose="020B0604020202020204" pitchFamily="34" charset="0"/>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dirty="0" err="1"/>
              <a:t>Click</a:t>
            </a:r>
            <a:r>
              <a:rPr lang="nb-NO" noProof="0" dirty="0"/>
              <a:t> to </a:t>
            </a:r>
            <a:r>
              <a:rPr lang="nb-NO" noProof="0" dirty="0" err="1"/>
              <a:t>change</a:t>
            </a:r>
            <a:r>
              <a:rPr lang="nb-NO" noProof="0" dirty="0"/>
              <a:t> </a:t>
            </a:r>
            <a:r>
              <a:rPr lang="nb-NO" noProof="0" dirty="0" err="1"/>
              <a:t>the</a:t>
            </a:r>
            <a:r>
              <a:rPr lang="nb-NO" noProof="0" dirty="0"/>
              <a:t> </a:t>
            </a:r>
            <a:r>
              <a:rPr lang="nb-NO" noProof="0" dirty="0" err="1"/>
              <a:t>text</a:t>
            </a:r>
            <a:r>
              <a:rPr lang="nb-NO" noProof="0" dirty="0"/>
              <a:t> styles </a:t>
            </a:r>
            <a:r>
              <a:rPr lang="nb-NO" noProof="0" dirty="0" err="1"/>
              <a:t>on</a:t>
            </a:r>
            <a:r>
              <a:rPr lang="nb-NO" noProof="0" dirty="0"/>
              <a:t> </a:t>
            </a:r>
            <a:r>
              <a:rPr lang="nb-NO" noProof="0" dirty="0" err="1"/>
              <a:t>the</a:t>
            </a:r>
            <a:r>
              <a:rPr lang="nb-NO" noProof="0" dirty="0"/>
              <a:t> slide master</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12" name="Content Placeholder 2">
            <a:extLst>
              <a:ext uri="{FF2B5EF4-FFF2-40B4-BE49-F238E27FC236}">
                <a16:creationId xmlns:a16="http://schemas.microsoft.com/office/drawing/2014/main" id="{DACE61B7-02B5-4E0A-8D96-29AA5F2E9A05}"/>
              </a:ext>
            </a:extLst>
          </p:cNvPr>
          <p:cNvSpPr>
            <a:spLocks noGrp="1"/>
          </p:cNvSpPr>
          <p:nvPr>
            <p:ph idx="16" hasCustomPrompt="1"/>
          </p:nvPr>
        </p:nvSpPr>
        <p:spPr>
          <a:xfrm>
            <a:off x="6214951"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 typeface="Arial" panose="020B0604020202020204" pitchFamily="34" charset="0"/>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dirty="0" err="1"/>
              <a:t>Click</a:t>
            </a:r>
            <a:r>
              <a:rPr lang="nb-NO" noProof="0" dirty="0"/>
              <a:t> to </a:t>
            </a:r>
            <a:r>
              <a:rPr lang="nb-NO" noProof="0" dirty="0" err="1"/>
              <a:t>change</a:t>
            </a:r>
            <a:r>
              <a:rPr lang="nb-NO" noProof="0" dirty="0"/>
              <a:t> </a:t>
            </a:r>
            <a:r>
              <a:rPr lang="nb-NO" noProof="0" dirty="0" err="1"/>
              <a:t>the</a:t>
            </a:r>
            <a:r>
              <a:rPr lang="nb-NO" noProof="0" dirty="0"/>
              <a:t> </a:t>
            </a:r>
            <a:r>
              <a:rPr lang="nb-NO" noProof="0" dirty="0" err="1"/>
              <a:t>text</a:t>
            </a:r>
            <a:r>
              <a:rPr lang="nb-NO" noProof="0" dirty="0"/>
              <a:t> styles </a:t>
            </a:r>
            <a:r>
              <a:rPr lang="nb-NO" noProof="0" dirty="0" err="1"/>
              <a:t>on</a:t>
            </a:r>
            <a:r>
              <a:rPr lang="nb-NO" noProof="0" dirty="0"/>
              <a:t> </a:t>
            </a:r>
            <a:r>
              <a:rPr lang="nb-NO" noProof="0" dirty="0" err="1"/>
              <a:t>the</a:t>
            </a:r>
            <a:r>
              <a:rPr lang="nb-NO" noProof="0" dirty="0"/>
              <a:t> slide master</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lvl1pPr>
          </a:lstStyle>
          <a:p>
            <a:r>
              <a:rPr lang="nb-NO" noProof="0"/>
              <a:t>Title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5" name="Content Placeholder 2">
            <a:extLst>
              <a:ext uri="{FF2B5EF4-FFF2-40B4-BE49-F238E27FC236}">
                <a16:creationId xmlns:a16="http://schemas.microsoft.com/office/drawing/2014/main" id="{1D0309A2-2C77-4A6B-86B6-B5D04081C276}"/>
              </a:ext>
            </a:extLst>
          </p:cNvPr>
          <p:cNvSpPr>
            <a:spLocks noGrp="1"/>
          </p:cNvSpPr>
          <p:nvPr>
            <p:ph idx="19" hasCustomPrompt="1"/>
          </p:nvPr>
        </p:nvSpPr>
        <p:spPr>
          <a:xfrm>
            <a:off x="9120035" y="1808820"/>
            <a:ext cx="2667153" cy="3868080"/>
          </a:xfrm>
          <a:prstGeom prst="rect">
            <a:avLst/>
          </a:prstGeom>
        </p:spPr>
        <p:txBody>
          <a:bodyPr>
            <a:noAutofit/>
          </a:bodyPr>
          <a:lstStyle>
            <a:lvl1pPr>
              <a:spcBef>
                <a:spcPts val="1800"/>
              </a:spcBef>
              <a:defRPr sz="1600">
                <a:solidFill>
                  <a:schemeClr val="tx1"/>
                </a:solidFill>
              </a:defRPr>
            </a:lvl1pPr>
            <a:lvl2pPr marL="447675" indent="-314325">
              <a:buFont typeface="Arial" panose="020B0604020202020204" pitchFamily="34" charset="0"/>
              <a:buChar cha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nb-NO" noProof="0" dirty="0" err="1"/>
              <a:t>Click</a:t>
            </a:r>
            <a:r>
              <a:rPr lang="nb-NO" noProof="0" dirty="0"/>
              <a:t> to </a:t>
            </a:r>
            <a:r>
              <a:rPr lang="nb-NO" noProof="0" dirty="0" err="1"/>
              <a:t>change</a:t>
            </a:r>
            <a:r>
              <a:rPr lang="nb-NO" noProof="0" dirty="0"/>
              <a:t> </a:t>
            </a:r>
            <a:r>
              <a:rPr lang="nb-NO" noProof="0" dirty="0" err="1"/>
              <a:t>the</a:t>
            </a:r>
            <a:r>
              <a:rPr lang="nb-NO" noProof="0" dirty="0"/>
              <a:t> </a:t>
            </a:r>
            <a:r>
              <a:rPr lang="nb-NO" noProof="0" dirty="0" err="1"/>
              <a:t>text</a:t>
            </a:r>
            <a:r>
              <a:rPr lang="nb-NO" noProof="0" dirty="0"/>
              <a:t> styles </a:t>
            </a:r>
            <a:r>
              <a:rPr lang="nb-NO" noProof="0" dirty="0" err="1"/>
              <a:t>on</a:t>
            </a:r>
            <a:r>
              <a:rPr lang="nb-NO" noProof="0" dirty="0"/>
              <a:t> </a:t>
            </a:r>
            <a:r>
              <a:rPr lang="nb-NO" noProof="0" dirty="0" err="1"/>
              <a:t>the</a:t>
            </a:r>
            <a:r>
              <a:rPr lang="nb-NO" noProof="0" dirty="0"/>
              <a:t> slide master</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3C50CCED-DF68-4D21-B175-373AD9E463D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17" name="Text Placeholder 5">
            <a:extLst>
              <a:ext uri="{FF2B5EF4-FFF2-40B4-BE49-F238E27FC236}">
                <a16:creationId xmlns:a16="http://schemas.microsoft.com/office/drawing/2014/main" id="{9662D3B7-0344-4CA3-BB4D-B98E7E5ECEEA}"/>
              </a:ext>
            </a:extLst>
          </p:cNvPr>
          <p:cNvSpPr>
            <a:spLocks noGrp="1"/>
          </p:cNvSpPr>
          <p:nvPr>
            <p:ph type="body" sz="quarter" idx="20" hasCustomPrompt="1"/>
          </p:nvPr>
        </p:nvSpPr>
        <p:spPr>
          <a:xfrm>
            <a:off x="399865" y="1346865"/>
            <a:ext cx="2383767" cy="353943"/>
          </a:xfrm>
          <a:prstGeom prst="rect">
            <a:avLst/>
          </a:prstGeom>
          <a:noFill/>
        </p:spPr>
        <p:txBody>
          <a:bodyPr wrap="none" lIns="108000" rIns="108000" bIns="0">
            <a:spAutoFit/>
          </a:bodyPr>
          <a:lstStyle>
            <a:lvl1pPr marL="0" indent="0">
              <a:buNone/>
              <a:defRPr sz="2000">
                <a:solidFill>
                  <a:srgbClr val="2F469C"/>
                </a:solidFill>
              </a:defRPr>
            </a:lvl1pPr>
          </a:lstStyle>
          <a:p>
            <a:pPr lvl="0"/>
            <a:r>
              <a:rPr lang="nb-NO" noProof="0" dirty="0" err="1"/>
              <a:t>Subtitle</a:t>
            </a:r>
            <a:r>
              <a:rPr lang="nb-NO" noProof="0" dirty="0"/>
              <a:t> </a:t>
            </a:r>
            <a:r>
              <a:rPr lang="nb-NO" noProof="0" dirty="0" err="1"/>
              <a:t>of</a:t>
            </a:r>
            <a:r>
              <a:rPr lang="nb-NO" noProof="0" dirty="0"/>
              <a:t> </a:t>
            </a:r>
            <a:r>
              <a:rPr lang="nb-NO" noProof="0" dirty="0" err="1"/>
              <a:t>the</a:t>
            </a:r>
            <a:r>
              <a:rPr lang="nb-NO" noProof="0" dirty="0"/>
              <a:t> slide</a:t>
            </a:r>
          </a:p>
        </p:txBody>
      </p:sp>
    </p:spTree>
    <p:extLst>
      <p:ext uri="{BB962C8B-B14F-4D97-AF65-F5344CB8AC3E}">
        <p14:creationId xmlns:p14="http://schemas.microsoft.com/office/powerpoint/2010/main" val="32520526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Empty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695396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70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0" name="Graphique 8">
            <a:extLst>
              <a:ext uri="{FF2B5EF4-FFF2-40B4-BE49-F238E27FC236}">
                <a16:creationId xmlns:a16="http://schemas.microsoft.com/office/drawing/2014/main" id="{03FBAD7D-854D-404C-B8B3-4E2C7D8E19D0}"/>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1" name="Text Placeholder 8">
            <a:extLst>
              <a:ext uri="{FF2B5EF4-FFF2-40B4-BE49-F238E27FC236}">
                <a16:creationId xmlns:a16="http://schemas.microsoft.com/office/drawing/2014/main" id="{2B038926-763C-48F5-9721-AE1BAF188A38}"/>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1B796240-8CD8-43A3-8D1A-C67B7CF9EE7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 name="Text Placeholder 5">
            <a:extLst>
              <a:ext uri="{FF2B5EF4-FFF2-40B4-BE49-F238E27FC236}">
                <a16:creationId xmlns:a16="http://schemas.microsoft.com/office/drawing/2014/main" id="{CE811145-30D4-4346-98CA-B97A784975AD}"/>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74613006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277492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68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contenu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8319506" cy="3868080"/>
          </a:xfrm>
          <a:prstGeom prst="rect">
            <a:avLst/>
          </a:prstGeom>
        </p:spPr>
        <p:txBody>
          <a:bodyPr/>
          <a:lstStyle>
            <a:lvl1pPr>
              <a:defRPr>
                <a:solidFill>
                  <a:schemeClr val="bg1"/>
                </a:solidFill>
              </a:defRPr>
            </a:lvl1pPr>
            <a:lvl2pPr marL="447675" indent="-314325">
              <a:buFont typeface="Arial" panose="020B0604020202020204" pitchFamily="34" charset="0"/>
              <a:buChar cha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5266C08B-2F7E-4F8B-BF8E-E61C11C088ED}"/>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CE0DAD37-9E91-4CB5-BBFB-D7D0AE680AD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7" name="Espace réservé du numéro de diapositive 2">
            <a:extLst>
              <a:ext uri="{FF2B5EF4-FFF2-40B4-BE49-F238E27FC236}">
                <a16:creationId xmlns:a16="http://schemas.microsoft.com/office/drawing/2014/main" id="{FF24FD81-7B55-4044-B852-C1B3DF92DCD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8" name="Espace réservé du pied de page 4">
            <a:extLst>
              <a:ext uri="{FF2B5EF4-FFF2-40B4-BE49-F238E27FC236}">
                <a16:creationId xmlns:a16="http://schemas.microsoft.com/office/drawing/2014/main" id="{B9B9ED51-C446-4AC1-B24E-06FFE95D92F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9E12D94-276B-4046-B3E1-AA0B7ECE75A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2" name="Cadre 11">
            <a:extLst>
              <a:ext uri="{FF2B5EF4-FFF2-40B4-BE49-F238E27FC236}">
                <a16:creationId xmlns:a16="http://schemas.microsoft.com/office/drawing/2014/main" id="{CE3DF51A-74C3-4387-8AC2-7451AC9EA26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3" name="Text Placeholder 5">
            <a:extLst>
              <a:ext uri="{FF2B5EF4-FFF2-40B4-BE49-F238E27FC236}">
                <a16:creationId xmlns:a16="http://schemas.microsoft.com/office/drawing/2014/main" id="{D139AACC-CA50-4151-87D7-5E65665D286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686634683"/>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32" userDrawn="1">
          <p15:clr>
            <a:srgbClr val="F26B43"/>
          </p15:clr>
        </p15:guide>
        <p15:guide id="5" orient="horz" pos="1136"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2916820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488"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A3C6331E-7AA2-48FC-848A-107CE4F05F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Text Placeholder 5">
            <a:extLst>
              <a:ext uri="{FF2B5EF4-FFF2-40B4-BE49-F238E27FC236}">
                <a16:creationId xmlns:a16="http://schemas.microsoft.com/office/drawing/2014/main" id="{E4713064-6C17-45BD-90AB-6E9E0B88803A}"/>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45765526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2 columns_Dark Blue Bg with divider">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695260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40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367D8D94-1F4F-4570-BE87-CC0ACCECF1F4}"/>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2F236AEC-C7EC-4113-A52E-42CBE9E2CEC5}"/>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35F5DA09-4EA3-477B-8AB6-2107939FF734}"/>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3F49335F-1C58-4990-9C3F-134638C480A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98936663-DB8F-4803-AE7D-C907BA7F10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0" name="Espace réservé du pied de page 4">
            <a:extLst>
              <a:ext uri="{FF2B5EF4-FFF2-40B4-BE49-F238E27FC236}">
                <a16:creationId xmlns:a16="http://schemas.microsoft.com/office/drawing/2014/main" id="{24E312FF-57A8-41D2-8CEA-B8E4B94D39B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8700E46C-E029-4D65-9750-72D1F0CADC93}"/>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1F374AA6-28F4-41FD-A410-764242D207E0}"/>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559CE3AF-CA30-4ED6-8552-329F4537E11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6" name="Text Placeholder 5">
            <a:extLst>
              <a:ext uri="{FF2B5EF4-FFF2-40B4-BE49-F238E27FC236}">
                <a16:creationId xmlns:a16="http://schemas.microsoft.com/office/drawing/2014/main" id="{AD1B61BB-BDEF-4DAB-8CDD-EE8FE2A14DB6}"/>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82320248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615579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51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5CE47666-5F6C-4221-BE57-EDA03F18B7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D13D2839-C8C2-47A5-929D-74BCB3BF83A3}"/>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71123866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3 columns_Dark Blue Bg with dividers">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227425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42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0" name="Content Placeholder 2">
            <a:extLst>
              <a:ext uri="{FF2B5EF4-FFF2-40B4-BE49-F238E27FC236}">
                <a16:creationId xmlns:a16="http://schemas.microsoft.com/office/drawing/2014/main" id="{97A52EDD-AB3D-46B8-9552-5D0D13D5F36D}"/>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1" name="Content Placeholder 2">
            <a:extLst>
              <a:ext uri="{FF2B5EF4-FFF2-40B4-BE49-F238E27FC236}">
                <a16:creationId xmlns:a16="http://schemas.microsoft.com/office/drawing/2014/main" id="{8768F86D-E142-4E52-9D2E-634CC9C157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0768956C-096A-4710-B05A-BFA418BB475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4" name="Graphique 8">
            <a:extLst>
              <a:ext uri="{FF2B5EF4-FFF2-40B4-BE49-F238E27FC236}">
                <a16:creationId xmlns:a16="http://schemas.microsoft.com/office/drawing/2014/main" id="{F0A4DBDF-9DE1-4159-B9A5-0F036DC8A42F}"/>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1480B72C-9876-453C-9F2F-0AE2DB43A8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1B7C54F0-393D-414A-AB4A-9C866103590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0" name="Espace réservé du pied de page 4">
            <a:extLst>
              <a:ext uri="{FF2B5EF4-FFF2-40B4-BE49-F238E27FC236}">
                <a16:creationId xmlns:a16="http://schemas.microsoft.com/office/drawing/2014/main" id="{053CAEAD-747A-422E-A5A4-8DCFAFD21E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C789CF81-246C-4814-B82F-ECB801F4C802}"/>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3" name="Straight Connector 35">
            <a:extLst>
              <a:ext uri="{FF2B5EF4-FFF2-40B4-BE49-F238E27FC236}">
                <a16:creationId xmlns:a16="http://schemas.microsoft.com/office/drawing/2014/main" id="{38BA5899-CDBB-42D8-BFCD-64F5857EFC65}"/>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7" name="Straight Connector 35">
            <a:extLst>
              <a:ext uri="{FF2B5EF4-FFF2-40B4-BE49-F238E27FC236}">
                <a16:creationId xmlns:a16="http://schemas.microsoft.com/office/drawing/2014/main" id="{0319CC48-B0CA-4682-86EB-D878921F8F3B}"/>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EB3C9E83-59DE-4031-99F8-8E589A475E7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9" name="Text Placeholder 5">
            <a:extLst>
              <a:ext uri="{FF2B5EF4-FFF2-40B4-BE49-F238E27FC236}">
                <a16:creationId xmlns:a16="http://schemas.microsoft.com/office/drawing/2014/main" id="{68207C00-928F-496F-B7C6-9171CBC214C4}"/>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74197529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columns_Dark Blue Bg ">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042955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44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A3E362D2-078D-4128-B488-B68D1D62549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8099771D-F956-4DB9-B4F7-7E761C11A3B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5" name="Text Placeholder 5">
            <a:extLst>
              <a:ext uri="{FF2B5EF4-FFF2-40B4-BE49-F238E27FC236}">
                <a16:creationId xmlns:a16="http://schemas.microsoft.com/office/drawing/2014/main" id="{581BF1F8-6CC9-494D-8602-9E9AB8CE19E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94286131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 columns_Dark Blue Bg with dividers">
    <p:bg>
      <p:bgPr>
        <a:solidFill>
          <a:schemeClr val="accent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3250717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47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 </a:t>
            </a:r>
          </a:p>
        </p:txBody>
      </p:sp>
      <p:sp>
        <p:nvSpPr>
          <p:cNvPr id="14" name="Text Placeholder 8">
            <a:extLst>
              <a:ext uri="{FF2B5EF4-FFF2-40B4-BE49-F238E27FC236}">
                <a16:creationId xmlns:a16="http://schemas.microsoft.com/office/drawing/2014/main" id="{20B967EF-526B-42DF-870F-C27D85C3749D}"/>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pied de page 4">
            <a:extLst>
              <a:ext uri="{FF2B5EF4-FFF2-40B4-BE49-F238E27FC236}">
                <a16:creationId xmlns:a16="http://schemas.microsoft.com/office/drawing/2014/main" id="{5A248F93-3019-4CAF-B706-E2441D4F541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24" name="Cadre 23">
            <a:extLst>
              <a:ext uri="{FF2B5EF4-FFF2-40B4-BE49-F238E27FC236}">
                <a16:creationId xmlns:a16="http://schemas.microsoft.com/office/drawing/2014/main" id="{325EBEA5-1389-448B-8CAE-B7B85188084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5" name="Text Placeholder 5">
            <a:extLst>
              <a:ext uri="{FF2B5EF4-FFF2-40B4-BE49-F238E27FC236}">
                <a16:creationId xmlns:a16="http://schemas.microsoft.com/office/drawing/2014/main" id="{588D9899-BB37-4FE9-A385-9495B967978B}"/>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86435110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2">
    <p:bg>
      <p:bgPr>
        <a:blipFill dpi="0" rotWithShape="1">
          <a:blip r:embed="rId5">
            <a:lum/>
          </a:blip>
          <a:srcRect/>
          <a:stretch>
            <a:fillRect t="-8000" b="-8000"/>
          </a:stretch>
        </a:blip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469" name="Diapositive think-cell" r:id="rId6" imgW="532" imgH="530" progId="TCLayout.ActiveDocument.1">
                  <p:embed/>
                </p:oleObj>
              </mc:Choice>
              <mc:Fallback>
                <p:oleObj name="Diapositive think-cell" r:id="rId6"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23" name="Forme libre : forme 22">
            <a:extLst>
              <a:ext uri="{FF2B5EF4-FFF2-40B4-BE49-F238E27FC236}">
                <a16:creationId xmlns:a16="http://schemas.microsoft.com/office/drawing/2014/main" id="{66AEBE2B-012F-42BB-A823-995DB0D71DD2}"/>
              </a:ext>
            </a:extLst>
          </p:cNvPr>
          <p:cNvSpPr/>
          <p:nvPr userDrawn="1"/>
        </p:nvSpPr>
        <p:spPr>
          <a:xfrm rot="18932423">
            <a:off x="-954765" y="1427043"/>
            <a:ext cx="5372804"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noProof="0" dirty="0"/>
          </a:p>
        </p:txBody>
      </p:sp>
      <p:sp>
        <p:nvSpPr>
          <p:cNvPr id="21" name="Forme libre : forme 20">
            <a:extLst>
              <a:ext uri="{FF2B5EF4-FFF2-40B4-BE49-F238E27FC236}">
                <a16:creationId xmlns:a16="http://schemas.microsoft.com/office/drawing/2014/main" id="{534AE452-7F08-4FA5-B95D-44688A32E41E}"/>
              </a:ext>
            </a:extLst>
          </p:cNvPr>
          <p:cNvSpPr/>
          <p:nvPr userDrawn="1"/>
        </p:nvSpPr>
        <p:spPr>
          <a:xfrm rot="18932423">
            <a:off x="-735098" y="889565"/>
            <a:ext cx="3838044"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noProof="0" dirty="0"/>
          </a:p>
        </p:txBody>
      </p:sp>
      <p:sp>
        <p:nvSpPr>
          <p:cNvPr id="13" name="Sous-titre 2">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59131" y="3001503"/>
            <a:ext cx="7551997" cy="461665"/>
          </a:xfrm>
          <a:prstGeom prst="rect">
            <a:avLst/>
          </a:prstGeom>
        </p:spPr>
        <p:txBody>
          <a:bodyPr wrap="square" lIns="108000" rIns="180000">
            <a:spAutoFit/>
          </a:bodyPr>
          <a:lstStyle>
            <a:lvl1pPr marL="0" indent="0" algn="l">
              <a:buNone/>
              <a:defRPr sz="2400">
                <a:solidFill>
                  <a:schemeClr val="bg1"/>
                </a:solidFill>
                <a:effectLst>
                  <a:outerShdw blurRad="38100" dist="38100" dir="2700000" algn="tl">
                    <a:srgbClr val="000000">
                      <a:alpha val="43137"/>
                    </a:srgbClr>
                  </a:outerShdw>
                </a:effectLst>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noProof="0" dirty="0"/>
              <a:t>Undertittel</a:t>
            </a:r>
          </a:p>
        </p:txBody>
      </p:sp>
      <p:sp>
        <p:nvSpPr>
          <p:cNvPr id="19" name="Espace réservé de la date 3">
            <a:extLst>
              <a:ext uri="{FF2B5EF4-FFF2-40B4-BE49-F238E27FC236}">
                <a16:creationId xmlns:a16="http://schemas.microsoft.com/office/drawing/2014/main" id="{11CD5301-9586-45EF-BD7D-6FD0A6A5B078}"/>
              </a:ext>
            </a:extLst>
          </p:cNvPr>
          <p:cNvSpPr>
            <a:spLocks noGrp="1"/>
          </p:cNvSpPr>
          <p:nvPr>
            <p:ph type="dt" sz="half" idx="10"/>
          </p:nvPr>
        </p:nvSpPr>
        <p:spPr>
          <a:xfrm>
            <a:off x="459132" y="4402897"/>
            <a:ext cx="669121" cy="215444"/>
          </a:xfrm>
          <a:prstGeom prst="rect">
            <a:avLst/>
          </a:prstGeom>
        </p:spPr>
        <p:txBody>
          <a:bodyPr wrap="none" lIns="108000" tIns="0" rIns="180000" bIns="0">
            <a:spAutoFit/>
          </a:bodyPr>
          <a:lstStyle>
            <a:lvl1pPr>
              <a:defRPr sz="1400">
                <a:solidFill>
                  <a:schemeClr val="bg1"/>
                </a:solidFill>
                <a:effectLst>
                  <a:outerShdw blurRad="38100" dist="38100" dir="2700000" algn="tl">
                    <a:srgbClr val="000000">
                      <a:alpha val="43137"/>
                    </a:srgbClr>
                  </a:outerShdw>
                </a:effectLst>
              </a:defRPr>
            </a:lvl1pPr>
          </a:lstStyle>
          <a:p>
            <a:r>
              <a:rPr lang="nb-NO" dirty="0"/>
              <a:t>Dato</a:t>
            </a: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9207" y="521852"/>
            <a:ext cx="7551997" cy="2475348"/>
          </a:xfrm>
        </p:spPr>
        <p:txBody>
          <a:bodyPr lIns="72000" anchor="t">
            <a:noAutofit/>
          </a:bodyPr>
          <a:lstStyle>
            <a:lvl1pPr algn="l">
              <a:lnSpc>
                <a:spcPct val="80000"/>
              </a:lnSpc>
              <a:defRPr sz="6000" b="1" cap="all" spc="-200" baseline="0">
                <a:solidFill>
                  <a:schemeClr val="bg1"/>
                </a:solidFill>
                <a:effectLst>
                  <a:outerShdw blurRad="38100" dist="38100" dir="2700000" algn="tl">
                    <a:srgbClr val="000000">
                      <a:alpha val="43137"/>
                    </a:srgbClr>
                  </a:outerShdw>
                </a:effectLst>
                <a:latin typeface="Arial Black" panose="020B0A04020102020204" pitchFamily="34" charset="0"/>
              </a:defRPr>
            </a:lvl1pPr>
          </a:lstStyle>
          <a:p>
            <a:r>
              <a:rPr lang="nb-NO" noProof="0" dirty="0"/>
              <a:t>Tittel </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9132" y="4014515"/>
            <a:ext cx="1120550" cy="400110"/>
          </a:xfrm>
          <a:prstGeom prst="rect">
            <a:avLst/>
          </a:prstGeom>
        </p:spPr>
        <p:txBody>
          <a:bodyPr wrap="none" lIns="108000">
            <a:spAutoFit/>
          </a:bodyPr>
          <a:lstStyle>
            <a:lvl1pPr marL="0" indent="0">
              <a:buNone/>
              <a:defRPr sz="2000">
                <a:solidFill>
                  <a:schemeClr val="bg1"/>
                </a:solidFill>
                <a:effectLst>
                  <a:outerShdw blurRad="38100" dist="38100" dir="2700000" algn="tl">
                    <a:srgbClr val="000000">
                      <a:alpha val="43137"/>
                    </a:srgbClr>
                  </a:outerShdw>
                </a:effectLs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noProof="0" dirty="0"/>
              <a:t>Ditt navn</a:t>
            </a:r>
          </a:p>
        </p:txBody>
      </p:sp>
      <p:cxnSp>
        <p:nvCxnSpPr>
          <p:cNvPr id="27" name="Connecteur droit 26">
            <a:extLst>
              <a:ext uri="{FF2B5EF4-FFF2-40B4-BE49-F238E27FC236}">
                <a16:creationId xmlns:a16="http://schemas.microsoft.com/office/drawing/2014/main" id="{55C72328-61FF-4531-AF88-298161BE3728}"/>
              </a:ext>
            </a:extLst>
          </p:cNvPr>
          <p:cNvCxnSpPr>
            <a:cxnSpLocks/>
          </p:cNvCxnSpPr>
          <p:nvPr userDrawn="1"/>
        </p:nvCxnSpPr>
        <p:spPr>
          <a:xfrm>
            <a:off x="571500"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4" name="Graphique 12">
            <a:extLst>
              <a:ext uri="{FF2B5EF4-FFF2-40B4-BE49-F238E27FC236}">
                <a16:creationId xmlns:a16="http://schemas.microsoft.com/office/drawing/2014/main" id="{33FF114A-8E2E-4078-8447-E6672F2878CC}"/>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5" name="Cadre 14">
            <a:extLst>
              <a:ext uri="{FF2B5EF4-FFF2-40B4-BE49-F238E27FC236}">
                <a16:creationId xmlns:a16="http://schemas.microsoft.com/office/drawing/2014/main" id="{FBAD0157-C8A9-43A3-BB2C-AE46F0750E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Tree>
    <p:extLst>
      <p:ext uri="{BB962C8B-B14F-4D97-AF65-F5344CB8AC3E}">
        <p14:creationId xmlns:p14="http://schemas.microsoft.com/office/powerpoint/2010/main" val="2559564870"/>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29">
          <p15:clr>
            <a:srgbClr val="F26B43"/>
          </p15:clr>
        </p15:guide>
        <p15:guide id="4" orient="horz" pos="1888">
          <p15:clr>
            <a:srgbClr val="F26B43"/>
          </p15:clr>
        </p15:guide>
        <p15:guide id="5" orient="horz" pos="3317">
          <p15:clr>
            <a:srgbClr val="F26B43"/>
          </p15:clr>
        </p15:guide>
        <p15:guide id="6" orient="horz" pos="3929">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Empty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620895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72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7D382778-4BBE-4E08-86E4-7B7315AC1A61}"/>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BA150D9F-19CF-41D5-863B-7F91F1AB7D3B}"/>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1F9D6FB-8DB3-4379-851A-D7F19062A2E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ADCF342B-275C-4A27-A66D-2820075198A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47377B4-5609-49EE-8F95-1C8A59DF904C}"/>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77A1E76D-CD0A-45A9-B7A0-29F80C33545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ext Placeholder 5">
            <a:extLst>
              <a:ext uri="{FF2B5EF4-FFF2-40B4-BE49-F238E27FC236}">
                <a16:creationId xmlns:a16="http://schemas.microsoft.com/office/drawing/2014/main" id="{D8A5B67A-D907-474E-A084-15CB97FC3B9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50767359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ontent_Blue Bg">
    <p:bg>
      <p:bgPr>
        <a:solidFill>
          <a:schemeClr val="bg2"/>
        </a:solidFill>
        <a:effectLst/>
      </p:bgPr>
    </p:bg>
    <p:spTree>
      <p:nvGrpSpPr>
        <p:cNvPr id="1" name=""/>
        <p:cNvGrpSpPr/>
        <p:nvPr/>
      </p:nvGrpSpPr>
      <p:grpSpPr>
        <a:xfrm>
          <a:off x="0" y="0"/>
          <a:ext cx="0" cy="0"/>
          <a:chOff x="0" y="0"/>
          <a:chExt cx="0" cy="0"/>
        </a:xfrm>
      </p:grpSpPr>
      <p:sp>
        <p:nvSpPr>
          <p:cNvPr id="15" name="Espace réservé du contenu 2">
            <a:extLst>
              <a:ext uri="{FF2B5EF4-FFF2-40B4-BE49-F238E27FC236}">
                <a16:creationId xmlns:a16="http://schemas.microsoft.com/office/drawing/2014/main" id="{EA31DD0A-B87C-4F5D-B7AB-7E8A0082D2F9}"/>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 typeface="Arial" panose="020B0604020202020204" pitchFamily="34" charset="0"/>
              <a:buChar cha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463794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77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3E2F2A02-19F4-4543-A149-7BA6112B4EB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3A83716A-3280-4F1F-A538-84B68BE706C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EA13E63A-DB9A-4943-94F5-7D1662AF82E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AF25B436-5E52-4A56-8F65-3680B6E8DD4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121403F2-4414-4234-BC39-C68A3C04006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7C4457B5-A8C3-46A7-868D-52171EF747E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0" name="Text Placeholder 5">
            <a:extLst>
              <a:ext uri="{FF2B5EF4-FFF2-40B4-BE49-F238E27FC236}">
                <a16:creationId xmlns:a16="http://schemas.microsoft.com/office/drawing/2014/main" id="{94936C9F-D43C-4659-B9C5-2BCCD34522C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47683236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2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574738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53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5ABA2AAA-2D64-4286-AA8D-E8C4B33EF19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6818929B-5A27-4738-A956-5210DE317E64}"/>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82664441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 columns_Blue Bg with divider">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52202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49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0" name="Content Placeholder 2">
            <a:extLst>
              <a:ext uri="{FF2B5EF4-FFF2-40B4-BE49-F238E27FC236}">
                <a16:creationId xmlns:a16="http://schemas.microsoft.com/office/drawing/2014/main" id="{58EBDB8A-A132-411F-B6B9-59DC085B79E1}"/>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3" name="Graphique 8">
            <a:extLst>
              <a:ext uri="{FF2B5EF4-FFF2-40B4-BE49-F238E27FC236}">
                <a16:creationId xmlns:a16="http://schemas.microsoft.com/office/drawing/2014/main" id="{FAB72C51-19EB-42BF-84AF-F648EA3B2BB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7E11A5F4-9100-441C-8387-740981956A17}"/>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9" name="Espace réservé du numéro de diapositive 2">
            <a:extLst>
              <a:ext uri="{FF2B5EF4-FFF2-40B4-BE49-F238E27FC236}">
                <a16:creationId xmlns:a16="http://schemas.microsoft.com/office/drawing/2014/main" id="{13763D44-1A8C-41DD-9E5B-CB819BE4C5DF}"/>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0" name="Espace réservé du pied de page 4">
            <a:extLst>
              <a:ext uri="{FF2B5EF4-FFF2-40B4-BE49-F238E27FC236}">
                <a16:creationId xmlns:a16="http://schemas.microsoft.com/office/drawing/2014/main" id="{3B60D1F3-5624-4887-AC07-8B788D01CBD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6E829D9-0666-4D5B-9896-28C1CEC4B7E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5E3D423D-34E1-4BDE-8374-98A2C452EFBE}"/>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5" name="Cadre 14">
            <a:extLst>
              <a:ext uri="{FF2B5EF4-FFF2-40B4-BE49-F238E27FC236}">
                <a16:creationId xmlns:a16="http://schemas.microsoft.com/office/drawing/2014/main" id="{A05C525A-2558-46E8-80B5-9413899901D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539E13C7-429D-4FD8-8D51-1CD98F074621}"/>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53164379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3 columns_Blue Bg">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471171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55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2B4A1FD1-2F6F-4AF1-B710-F76E885B228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8" name="Text Placeholder 5">
            <a:extLst>
              <a:ext uri="{FF2B5EF4-FFF2-40B4-BE49-F238E27FC236}">
                <a16:creationId xmlns:a16="http://schemas.microsoft.com/office/drawing/2014/main" id="{9F66FD42-E6CB-4E63-977B-EE506F961D3C}"/>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407947476"/>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3 columns_Blue Bg with dividers">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770908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51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Content Placeholder 2">
            <a:extLst>
              <a:ext uri="{FF2B5EF4-FFF2-40B4-BE49-F238E27FC236}">
                <a16:creationId xmlns:a16="http://schemas.microsoft.com/office/drawing/2014/main" id="{A86D5BC3-F5D3-415B-B920-B84A14BC8E32}"/>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2" name="Content Placeholder 2">
            <a:extLst>
              <a:ext uri="{FF2B5EF4-FFF2-40B4-BE49-F238E27FC236}">
                <a16:creationId xmlns:a16="http://schemas.microsoft.com/office/drawing/2014/main" id="{0114C476-0380-4CDD-850C-316ADAE5BF6C}"/>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13" name="Content Placeholder 2">
            <a:extLst>
              <a:ext uri="{FF2B5EF4-FFF2-40B4-BE49-F238E27FC236}">
                <a16:creationId xmlns:a16="http://schemas.microsoft.com/office/drawing/2014/main" id="{6A1D61AC-BD7C-4366-9299-08E3EFE54064}"/>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pic>
        <p:nvPicPr>
          <p:cNvPr id="17" name="Graphique 8">
            <a:extLst>
              <a:ext uri="{FF2B5EF4-FFF2-40B4-BE49-F238E27FC236}">
                <a16:creationId xmlns:a16="http://schemas.microsoft.com/office/drawing/2014/main" id="{179657D5-47C7-4E75-BEE7-A780E55EE72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0D86C3E4-5B42-4A1F-B550-10045E81063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5D573DBF-7B78-4EB4-859D-55DACC88EEC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4" name="Espace réservé du pied de page 4">
            <a:extLst>
              <a:ext uri="{FF2B5EF4-FFF2-40B4-BE49-F238E27FC236}">
                <a16:creationId xmlns:a16="http://schemas.microsoft.com/office/drawing/2014/main" id="{BA89C3CB-68C8-4D8E-9AFC-40C4E7D1120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4" name="Text Placeholder 8">
            <a:extLst>
              <a:ext uri="{FF2B5EF4-FFF2-40B4-BE49-F238E27FC236}">
                <a16:creationId xmlns:a16="http://schemas.microsoft.com/office/drawing/2014/main" id="{4AD0B33D-4376-4867-B390-62408684645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6D1337EB-DEA5-4E68-BE59-E3A0603AE2DF}"/>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F9606CDD-74E8-4C9E-BCA3-937206DAC0A3}"/>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8" name="Cadre 17">
            <a:extLst>
              <a:ext uri="{FF2B5EF4-FFF2-40B4-BE49-F238E27FC236}">
                <a16:creationId xmlns:a16="http://schemas.microsoft.com/office/drawing/2014/main" id="{2D1E5417-BAA4-429E-95E5-698476B6619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0" name="Text Placeholder 5">
            <a:extLst>
              <a:ext uri="{FF2B5EF4-FFF2-40B4-BE49-F238E27FC236}">
                <a16:creationId xmlns:a16="http://schemas.microsoft.com/office/drawing/2014/main" id="{DED434F4-3F5A-4CC8-AF47-2D44BC94F886}"/>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646564601"/>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s_Blue Bg ">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417091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54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8" name="Cadre 17">
            <a:extLst>
              <a:ext uri="{FF2B5EF4-FFF2-40B4-BE49-F238E27FC236}">
                <a16:creationId xmlns:a16="http://schemas.microsoft.com/office/drawing/2014/main" id="{285449E9-76FD-41C4-AB0F-35C777B4B5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ext Placeholder 5">
            <a:extLst>
              <a:ext uri="{FF2B5EF4-FFF2-40B4-BE49-F238E27FC236}">
                <a16:creationId xmlns:a16="http://schemas.microsoft.com/office/drawing/2014/main" id="{6959EC62-365E-4C00-96A9-63E12DBFEC2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35828371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userDrawn="1">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columns_Blue Bg with dividers">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714034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56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3" name="Text Placeholder 5">
            <a:extLst>
              <a:ext uri="{FF2B5EF4-FFF2-40B4-BE49-F238E27FC236}">
                <a16:creationId xmlns:a16="http://schemas.microsoft.com/office/drawing/2014/main" id="{BF5012EE-F70F-4DC9-B099-EE7C58FBE72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62181426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mpty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4021404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74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D89E5884-F1A8-4E0D-9234-BB2A7C6AA430}"/>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818C64AC-1412-4DDD-9F43-C2EF0519216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8" name="Espace réservé du numéro de diapositive 2">
            <a:extLst>
              <a:ext uri="{FF2B5EF4-FFF2-40B4-BE49-F238E27FC236}">
                <a16:creationId xmlns:a16="http://schemas.microsoft.com/office/drawing/2014/main" id="{83E3C24A-2205-49DD-8B09-37A94D1654F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9" name="Espace réservé du pied de page 4">
            <a:extLst>
              <a:ext uri="{FF2B5EF4-FFF2-40B4-BE49-F238E27FC236}">
                <a16:creationId xmlns:a16="http://schemas.microsoft.com/office/drawing/2014/main" id="{D391BA41-15A6-4B3E-AA8F-038F30517DCA}"/>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43749402-7B23-4B7E-B9FD-7CAE1CA86FA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194712C5-0D63-4C06-B235-CC788C7E08B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ext Placeholder 5">
            <a:extLst>
              <a:ext uri="{FF2B5EF4-FFF2-40B4-BE49-F238E27FC236}">
                <a16:creationId xmlns:a16="http://schemas.microsoft.com/office/drawing/2014/main" id="{B2E2F58F-0CC0-4B8A-9FDF-4861071FFF3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86245141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Content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464905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70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2513B4C4-9B08-40EC-B04E-201CA7DE434E}"/>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B6971712-3753-4718-88F2-399AFD21BA78}"/>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3F3ECF30-253F-41F7-AE85-6ED0B962BF5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EBE9D903-93C1-4E77-A737-5DA411D2FA9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24E21DDE-C5A0-4A10-8DBA-9017D1642C9A}"/>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4E714486-5B7B-4F48-BEFC-281DDDE32204}"/>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Text Placeholder 5">
            <a:extLst>
              <a:ext uri="{FF2B5EF4-FFF2-40B4-BE49-F238E27FC236}">
                <a16:creationId xmlns:a16="http://schemas.microsoft.com/office/drawing/2014/main" id="{8BCED95E-D46F-45DA-A8CA-82C0D5EC5C7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8" name="Espace réservé du contenu 2">
            <a:extLst>
              <a:ext uri="{FF2B5EF4-FFF2-40B4-BE49-F238E27FC236}">
                <a16:creationId xmlns:a16="http://schemas.microsoft.com/office/drawing/2014/main" id="{23AE9234-7A03-47E3-B9FB-301147275941}"/>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 typeface="Arial" panose="020B0604020202020204" pitchFamily="34" charset="0"/>
              <a:buChar cha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1357981734"/>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32" userDrawn="1">
          <p15:clr>
            <a:srgbClr val="F26B43"/>
          </p15:clr>
        </p15:guide>
        <p15:guide id="5" orient="horz" pos="1135"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451036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14" name="Diapositive think-cell" r:id="rId5" imgW="532" imgH="530" progId="TCLayout.ActiveDocument.1">
                  <p:embed/>
                </p:oleObj>
              </mc:Choice>
              <mc:Fallback>
                <p:oleObj name="Diapositive think-cell" r:id="rId5" imgW="532" imgH="53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marL="85725" marR="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sz="1600">
                <a:solidFill>
                  <a:schemeClr val="tx1"/>
                </a:solidFill>
              </a:defRPr>
            </a:lvl1pPr>
            <a:lvl2pPr marL="447675" marR="0" indent="-314325" algn="l" defTabSz="914400" rtl="0" eaLnBrk="1" fontAlgn="auto" latinLnBrk="0" hangingPunct="1">
              <a:lnSpc>
                <a:spcPct val="100000"/>
              </a:lnSpc>
              <a:spcBef>
                <a:spcPts val="600"/>
              </a:spcBef>
              <a:spcAft>
                <a:spcPts val="0"/>
              </a:spcAft>
              <a:buClrTx/>
              <a:buSzPct val="80000"/>
              <a:buFont typeface="Arial" panose="020B0604020202020204" pitchFamily="34" charset="0"/>
              <a:buChar char="•"/>
              <a:tabLst/>
              <a:defRPr sz="1400">
                <a:solidFill>
                  <a:schemeClr val="tx1"/>
                </a:solidFill>
              </a:defRPr>
            </a:lvl2pPr>
            <a:lvl3pPr marL="714375" marR="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sz="1200">
                <a:solidFill>
                  <a:schemeClr val="tx1"/>
                </a:solidFill>
              </a:defRPr>
            </a:lvl3pPr>
            <a:lvl4pPr>
              <a:defRPr>
                <a:solidFill>
                  <a:schemeClr val="bg2"/>
                </a:solidFill>
              </a:defRPr>
            </a:lvl4pPr>
            <a:lvl5pPr>
              <a:defRPr>
                <a:solidFill>
                  <a:schemeClr val="bg2"/>
                </a:solidFill>
              </a:defRPr>
            </a:lvl5pPr>
          </a:lstStyle>
          <a:p>
            <a:pPr marL="85725" marR="0" lvl="0" indent="-85725" algn="l" defTabSz="914400" rtl="0" eaLnBrk="1" fontAlgn="auto" latinLnBrk="0" hangingPunct="1">
              <a:lnSpc>
                <a:spcPct val="100000"/>
              </a:lnSpc>
              <a:spcBef>
                <a:spcPts val="1800"/>
              </a:spcBef>
              <a:spcAft>
                <a:spcPts val="0"/>
              </a:spcAft>
              <a:buClrTx/>
              <a:buSzPct val="50000"/>
              <a:buFont typeface="HelveticaNeueLT Std Lt Cn" panose="020B0406020202030204" pitchFamily="34" charset="0"/>
              <a:buChar char=" "/>
              <a:tabLst/>
              <a:defRPr/>
            </a:pPr>
            <a:r>
              <a:rPr kumimoji="0" lang="nb-NO" sz="1600" b="0" i="0" u="none" strike="noStrike" kern="1200" cap="none" spc="0" normalizeH="0" baseline="0" noProof="0" dirty="0" err="1">
                <a:ln>
                  <a:noFill/>
                </a:ln>
                <a:solidFill>
                  <a:prstClr val="black"/>
                </a:solidFill>
                <a:effectLst/>
                <a:uLnTx/>
                <a:uFillTx/>
                <a:latin typeface="+mn-lt"/>
                <a:ea typeface="+mn-ea"/>
                <a:cs typeface="+mn-cs"/>
              </a:rPr>
              <a:t>Click</a:t>
            </a:r>
            <a:r>
              <a:rPr kumimoji="0" lang="nb-NO" sz="1600" b="0" i="0" u="none" strike="noStrike" kern="1200" cap="none" spc="0" normalizeH="0" baseline="0" noProof="0" dirty="0">
                <a:ln>
                  <a:noFill/>
                </a:ln>
                <a:solidFill>
                  <a:prstClr val="black"/>
                </a:solidFill>
                <a:effectLst/>
                <a:uLnTx/>
                <a:uFillTx/>
                <a:latin typeface="+mn-lt"/>
                <a:ea typeface="+mn-ea"/>
                <a:cs typeface="+mn-cs"/>
              </a:rPr>
              <a:t> to </a:t>
            </a:r>
            <a:r>
              <a:rPr kumimoji="0" lang="nb-NO" sz="1600" b="0" i="0" u="none" strike="noStrike" kern="1200" cap="none" spc="0" normalizeH="0" baseline="0" noProof="0" dirty="0" err="1">
                <a:ln>
                  <a:noFill/>
                </a:ln>
                <a:solidFill>
                  <a:prstClr val="black"/>
                </a:solidFill>
                <a:effectLst/>
                <a:uLnTx/>
                <a:uFillTx/>
                <a:latin typeface="+mn-lt"/>
                <a:ea typeface="+mn-ea"/>
                <a:cs typeface="+mn-cs"/>
              </a:rPr>
              <a:t>change</a:t>
            </a:r>
            <a:r>
              <a:rPr kumimoji="0" lang="nb-NO" sz="1600" b="0" i="0" u="none" strike="noStrike" kern="1200" cap="none" spc="0" normalizeH="0" baseline="0" noProof="0" dirty="0">
                <a:ln>
                  <a:noFill/>
                </a:ln>
                <a:solidFill>
                  <a:prstClr val="black"/>
                </a:solidFill>
                <a:effectLst/>
                <a:uLnTx/>
                <a:uFillTx/>
                <a:latin typeface="+mn-lt"/>
                <a:ea typeface="+mn-ea"/>
                <a:cs typeface="+mn-cs"/>
              </a:rPr>
              <a:t> </a:t>
            </a:r>
            <a:r>
              <a:rPr kumimoji="0" lang="nb-NO" sz="1600" b="0" i="0" u="none" strike="noStrike" kern="1200" cap="none" spc="0" normalizeH="0" baseline="0" noProof="0" dirty="0" err="1">
                <a:ln>
                  <a:noFill/>
                </a:ln>
                <a:solidFill>
                  <a:prstClr val="black"/>
                </a:solidFill>
                <a:effectLst/>
                <a:uLnTx/>
                <a:uFillTx/>
                <a:latin typeface="+mn-lt"/>
                <a:ea typeface="+mn-ea"/>
                <a:cs typeface="+mn-cs"/>
              </a:rPr>
              <a:t>the</a:t>
            </a:r>
            <a:r>
              <a:rPr kumimoji="0" lang="nb-NO" sz="1600" b="0" i="0" u="none" strike="noStrike" kern="1200" cap="none" spc="0" normalizeH="0" baseline="0" noProof="0" dirty="0">
                <a:ln>
                  <a:noFill/>
                </a:ln>
                <a:solidFill>
                  <a:prstClr val="black"/>
                </a:solidFill>
                <a:effectLst/>
                <a:uLnTx/>
                <a:uFillTx/>
                <a:latin typeface="+mn-lt"/>
                <a:ea typeface="+mn-ea"/>
                <a:cs typeface="+mn-cs"/>
              </a:rPr>
              <a:t> </a:t>
            </a:r>
            <a:r>
              <a:rPr kumimoji="0" lang="nb-NO" sz="1600" b="0" i="0" u="none" strike="noStrike" kern="1200" cap="none" spc="0" normalizeH="0" baseline="0" noProof="0" dirty="0" err="1">
                <a:ln>
                  <a:noFill/>
                </a:ln>
                <a:solidFill>
                  <a:prstClr val="black"/>
                </a:solidFill>
                <a:effectLst/>
                <a:uLnTx/>
                <a:uFillTx/>
                <a:latin typeface="+mn-lt"/>
                <a:ea typeface="+mn-ea"/>
                <a:cs typeface="+mn-cs"/>
              </a:rPr>
              <a:t>text</a:t>
            </a:r>
            <a:r>
              <a:rPr kumimoji="0" lang="nb-NO" sz="1600" b="0" i="0" u="none" strike="noStrike" kern="1200" cap="none" spc="0" normalizeH="0" baseline="0" noProof="0" dirty="0">
                <a:ln>
                  <a:noFill/>
                </a:ln>
                <a:solidFill>
                  <a:prstClr val="black"/>
                </a:solidFill>
                <a:effectLst/>
                <a:uLnTx/>
                <a:uFillTx/>
                <a:latin typeface="+mn-lt"/>
                <a:ea typeface="+mn-ea"/>
                <a:cs typeface="+mn-cs"/>
              </a:rPr>
              <a:t> styles </a:t>
            </a:r>
            <a:r>
              <a:rPr kumimoji="0" lang="nb-NO" sz="1600" b="0" i="0" u="none" strike="noStrike" kern="1200" cap="none" spc="0" normalizeH="0" baseline="0" noProof="0" dirty="0" err="1">
                <a:ln>
                  <a:noFill/>
                </a:ln>
                <a:solidFill>
                  <a:prstClr val="black"/>
                </a:solidFill>
                <a:effectLst/>
                <a:uLnTx/>
                <a:uFillTx/>
                <a:latin typeface="+mn-lt"/>
                <a:ea typeface="+mn-ea"/>
                <a:cs typeface="+mn-cs"/>
              </a:rPr>
              <a:t>on</a:t>
            </a:r>
            <a:r>
              <a:rPr kumimoji="0" lang="nb-NO" sz="1600" b="0" i="0" u="none" strike="noStrike" kern="1200" cap="none" spc="0" normalizeH="0" baseline="0" noProof="0" dirty="0">
                <a:ln>
                  <a:noFill/>
                </a:ln>
                <a:solidFill>
                  <a:prstClr val="black"/>
                </a:solidFill>
                <a:effectLst/>
                <a:uLnTx/>
                <a:uFillTx/>
                <a:latin typeface="+mn-lt"/>
                <a:ea typeface="+mn-ea"/>
                <a:cs typeface="+mn-cs"/>
              </a:rPr>
              <a:t> </a:t>
            </a:r>
            <a:r>
              <a:rPr kumimoji="0" lang="nb-NO" sz="1600" b="0" i="0" u="none" strike="noStrike" kern="1200" cap="none" spc="0" normalizeH="0" baseline="0" noProof="0" dirty="0" err="1">
                <a:ln>
                  <a:noFill/>
                </a:ln>
                <a:solidFill>
                  <a:prstClr val="black"/>
                </a:solidFill>
                <a:effectLst/>
                <a:uLnTx/>
                <a:uFillTx/>
                <a:latin typeface="+mn-lt"/>
                <a:ea typeface="+mn-ea"/>
                <a:cs typeface="+mn-cs"/>
              </a:rPr>
              <a:t>the</a:t>
            </a:r>
            <a:r>
              <a:rPr kumimoji="0" lang="nb-NO" sz="1600" b="0" i="0" u="none" strike="noStrike" kern="1200" cap="none" spc="0" normalizeH="0" baseline="0" noProof="0" dirty="0">
                <a:ln>
                  <a:noFill/>
                </a:ln>
                <a:solidFill>
                  <a:prstClr val="black"/>
                </a:solidFill>
                <a:effectLst/>
                <a:uLnTx/>
                <a:uFillTx/>
                <a:latin typeface="+mn-lt"/>
                <a:ea typeface="+mn-ea"/>
                <a:cs typeface="+mn-cs"/>
              </a:rPr>
              <a:t> slide master</a:t>
            </a:r>
          </a:p>
          <a:p>
            <a:pPr marL="447675" marR="0" lvl="1" indent="-314325" algn="l" defTabSz="914400" rtl="0" eaLnBrk="1" fontAlgn="auto" latinLnBrk="0" hangingPunct="1">
              <a:lnSpc>
                <a:spcPct val="100000"/>
              </a:lnSpc>
              <a:spcBef>
                <a:spcPts val="600"/>
              </a:spcBef>
              <a:spcAft>
                <a:spcPts val="0"/>
              </a:spcAft>
              <a:buClrTx/>
              <a:buSzPct val="80000"/>
              <a:buFont typeface="Arial" panose="020B0604020202020204" pitchFamily="34" charset="0"/>
              <a:buChar char="•"/>
              <a:tabLst/>
              <a:defRPr/>
            </a:pPr>
            <a:r>
              <a:rPr kumimoji="0" lang="nb-NO" sz="1600" b="0" i="0" u="none" strike="noStrike" kern="1200" cap="none" spc="0" normalizeH="0" baseline="0" noProof="0" dirty="0">
                <a:ln>
                  <a:noFill/>
                </a:ln>
                <a:solidFill>
                  <a:prstClr val="black"/>
                </a:solidFill>
                <a:effectLst/>
                <a:uLnTx/>
                <a:uFillTx/>
                <a:latin typeface="+mn-lt"/>
                <a:ea typeface="+mn-ea"/>
                <a:cs typeface="+mn-cs"/>
              </a:rPr>
              <a:t>Tekst nivå 1</a:t>
            </a:r>
          </a:p>
          <a:p>
            <a:pPr marL="714375" marR="0" lvl="2"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nb-NO" sz="1400" b="0" i="0" u="none" strike="noStrike" kern="1200" cap="none" spc="0" normalizeH="0" baseline="0" noProof="0" dirty="0">
                <a:ln>
                  <a:noFill/>
                </a:ln>
                <a:solidFill>
                  <a:prstClr val="black"/>
                </a:solidFill>
                <a:effectLst/>
                <a:uLnTx/>
                <a:uFillTx/>
                <a:latin typeface="+mn-lt"/>
                <a:ea typeface="+mn-ea"/>
                <a:cs typeface="+mn-cs"/>
              </a:rPr>
              <a:t>Tekst nivå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p:nvPr>
        </p:nvSpPr>
        <p:spPr>
          <a:xfrm>
            <a:off x="404786" y="1357678"/>
            <a:ext cx="3602982" cy="353943"/>
          </a:xfrm>
          <a:prstGeom prst="rect">
            <a:avLst/>
          </a:prstGeom>
          <a:noFill/>
        </p:spPr>
        <p:txBody>
          <a:bodyPr wrap="square" lIns="72000" rIns="72000" bIns="0">
            <a:spAutoFit/>
          </a:bodyPr>
          <a:lstStyle>
            <a:lvl1pPr marL="0" indent="0">
              <a:buNone/>
              <a:defRPr sz="2000">
                <a:solidFill>
                  <a:srgbClr val="2F469C"/>
                </a:solidFill>
              </a:defRPr>
            </a:lvl1pPr>
          </a:lstStyle>
          <a:p>
            <a:pPr lvl="0"/>
            <a:r>
              <a:rPr lang="nb-NO" noProof="0"/>
              <a:t>Klikk for å redigere tekststiler i malen</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p:txBody>
          <a:bodyPr/>
          <a:lstStyle/>
          <a:p>
            <a:fld id="{D61AABEC-672F-4B68-B914-690DA978312C}" type="slidenum">
              <a:rPr lang="nb-NO" noProof="0" smtClean="0"/>
              <a:pPr/>
              <a:t>‹#›</a:t>
            </a:fld>
            <a:r>
              <a:rPr lang="nb-NO" noProof="0" dirty="0"/>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p:nvPr>
        </p:nvSpPr>
        <p:spPr/>
        <p:txBody>
          <a:bodyPr/>
          <a:lstStyle>
            <a:lvl1pPr>
              <a:defRPr/>
            </a:lvl1pPr>
          </a:lstStyle>
          <a:p>
            <a:r>
              <a:rPr lang="nb-NO" noProof="0"/>
              <a:t>Klikk for å redigere tittelstil</a:t>
            </a:r>
            <a:endParaRPr lang="nb-NO" noProof="0" dirty="0"/>
          </a:p>
        </p:txBody>
      </p:sp>
      <p:sp>
        <p:nvSpPr>
          <p:cNvPr id="9" name="Cadre 8">
            <a:extLst>
              <a:ext uri="{FF2B5EF4-FFF2-40B4-BE49-F238E27FC236}">
                <a16:creationId xmlns:a16="http://schemas.microsoft.com/office/drawing/2014/main" id="{2F76EB0B-D792-435A-A672-36B46B20BA9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Tree>
    <p:extLst>
      <p:ext uri="{BB962C8B-B14F-4D97-AF65-F5344CB8AC3E}">
        <p14:creationId xmlns:p14="http://schemas.microsoft.com/office/powerpoint/2010/main" val="1193695246"/>
      </p:ext>
    </p:extLst>
  </p:cSld>
  <p:clrMapOvr>
    <a:masterClrMapping/>
  </p:clrMapOvr>
  <p:extLst>
    <p:ext uri="{DCECCB84-F9BA-43D5-87BE-67443E8EF086}">
      <p15:sldGuideLst xmlns:p15="http://schemas.microsoft.com/office/powerpoint/2012/main">
        <p15:guide id="1" pos="248" userDrawn="1">
          <p15:clr>
            <a:srgbClr val="F26B43"/>
          </p15:clr>
        </p15:guide>
        <p15:guide id="2" pos="7425" userDrawn="1">
          <p15:clr>
            <a:srgbClr val="F26B43"/>
          </p15:clr>
        </p15:guide>
        <p15:guide id="3" orient="horz" pos="232" userDrawn="1">
          <p15:clr>
            <a:srgbClr val="F26B43"/>
          </p15:clr>
        </p15:guide>
        <p15:guide id="5" orient="horz" pos="1136" userDrawn="1">
          <p15:clr>
            <a:srgbClr val="F26B43"/>
          </p15:clr>
        </p15:guide>
        <p15:guide id="6" orient="horz" pos="3584" userDrawn="1">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4119859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58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07C69250-80AB-4E19-908E-FE1A9C259EA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521F5727-3448-4D99-A3D4-D79C85230CBE}"/>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64843000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2 columns_Turquoise Bg with divider">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880808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59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D5051729-BB8F-4F8B-9768-535B59EB220A}"/>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4A67810E-C380-4F6B-97F0-4AACF4232B48}"/>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7"/>
              </a:buBlip>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D938CEE-A044-4227-9DE9-9D7C74815781}"/>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A123DD79-4804-466E-858A-943320EFB042}"/>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 </a:t>
            </a:r>
          </a:p>
        </p:txBody>
      </p:sp>
      <p:sp>
        <p:nvSpPr>
          <p:cNvPr id="20" name="Espace réservé du numéro de diapositive 2">
            <a:extLst>
              <a:ext uri="{FF2B5EF4-FFF2-40B4-BE49-F238E27FC236}">
                <a16:creationId xmlns:a16="http://schemas.microsoft.com/office/drawing/2014/main" id="{2D9890A8-BA01-4982-A473-4ABF58AED3D5}"/>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1" name="Espace réservé du pied de page 4">
            <a:extLst>
              <a:ext uri="{FF2B5EF4-FFF2-40B4-BE49-F238E27FC236}">
                <a16:creationId xmlns:a16="http://schemas.microsoft.com/office/drawing/2014/main" id="{A1BE0EC3-13A4-4B01-B222-35E0403F4ED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5E1329CB-08A8-4373-99C4-D2CCF23098ED}"/>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CCC03A1B-8149-4249-BC87-D1342F48BC4A}"/>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F8F0B5D-F839-44E6-BB0C-0E7ADA65D54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9" name="Text Placeholder 5">
            <a:extLst>
              <a:ext uri="{FF2B5EF4-FFF2-40B4-BE49-F238E27FC236}">
                <a16:creationId xmlns:a16="http://schemas.microsoft.com/office/drawing/2014/main" id="{9E667A18-410F-481D-B8EA-8C065FCA6C95}"/>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77724893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541841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0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AEAD5079-35F7-4EBC-8A2B-EF2178EF685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0" name="Text Placeholder 5">
            <a:extLst>
              <a:ext uri="{FF2B5EF4-FFF2-40B4-BE49-F238E27FC236}">
                <a16:creationId xmlns:a16="http://schemas.microsoft.com/office/drawing/2014/main" id="{622EFE7B-A7FA-48C9-BE52-BF05F7886DBD}"/>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57345049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3 columns_Turquoise Bg with dividers">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589044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61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Content Placeholder 2">
            <a:extLst>
              <a:ext uri="{FF2B5EF4-FFF2-40B4-BE49-F238E27FC236}">
                <a16:creationId xmlns:a16="http://schemas.microsoft.com/office/drawing/2014/main" id="{E6FF21A3-5C44-47ED-B6D7-AE6CB6A1102B}"/>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16" name="Content Placeholder 2">
            <a:extLst>
              <a:ext uri="{FF2B5EF4-FFF2-40B4-BE49-F238E27FC236}">
                <a16:creationId xmlns:a16="http://schemas.microsoft.com/office/drawing/2014/main" id="{75D31501-DC21-4740-ACF3-F1316E598191}"/>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17" name="Content Placeholder 2">
            <a:extLst>
              <a:ext uri="{FF2B5EF4-FFF2-40B4-BE49-F238E27FC236}">
                <a16:creationId xmlns:a16="http://schemas.microsoft.com/office/drawing/2014/main" id="{C9E9C974-F8D0-482E-9985-E67DFC62129F}"/>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F84A8F74-C187-471B-BECD-90117FE9539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6221AE0-5837-481C-BC68-0F09E348A56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3" name="Espace réservé du numéro de diapositive 2">
            <a:extLst>
              <a:ext uri="{FF2B5EF4-FFF2-40B4-BE49-F238E27FC236}">
                <a16:creationId xmlns:a16="http://schemas.microsoft.com/office/drawing/2014/main" id="{473C7761-AA9D-4D80-922D-D9468B5F3BAA}"/>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4" name="Espace réservé du pied de page 4">
            <a:extLst>
              <a:ext uri="{FF2B5EF4-FFF2-40B4-BE49-F238E27FC236}">
                <a16:creationId xmlns:a16="http://schemas.microsoft.com/office/drawing/2014/main" id="{A199F665-569C-4DB3-8791-44F0F59D740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Text Placeholder 8">
            <a:extLst>
              <a:ext uri="{FF2B5EF4-FFF2-40B4-BE49-F238E27FC236}">
                <a16:creationId xmlns:a16="http://schemas.microsoft.com/office/drawing/2014/main" id="{A93F987A-170C-4E76-A7D8-DC706875F85A}"/>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AF1B7B1-87E0-46A4-AA07-C1063E54C3AD}"/>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18811E3C-6550-477D-B750-990B471D9E0E}"/>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037D93BB-8CB2-444A-9066-CCC9764644F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1" name="Text Placeholder 5">
            <a:extLst>
              <a:ext uri="{FF2B5EF4-FFF2-40B4-BE49-F238E27FC236}">
                <a16:creationId xmlns:a16="http://schemas.microsoft.com/office/drawing/2014/main" id="{7FD16900-C8E9-45BA-B9BE-43095C95AD15}"/>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44946032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4 columns_Green Bg ">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4225431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40"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3" name="Text Placeholder 5">
            <a:extLst>
              <a:ext uri="{FF2B5EF4-FFF2-40B4-BE49-F238E27FC236}">
                <a16:creationId xmlns:a16="http://schemas.microsoft.com/office/drawing/2014/main" id="{793AA855-02DB-4B05-8E81-A158AE9F8E1F}"/>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655664367"/>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 columns_Green Bg with dividers">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3788088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66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4" name="Text Placeholder 5">
            <a:extLst>
              <a:ext uri="{FF2B5EF4-FFF2-40B4-BE49-F238E27FC236}">
                <a16:creationId xmlns:a16="http://schemas.microsoft.com/office/drawing/2014/main" id="{E1B1BC3B-7D47-4411-98E0-572B5105AF6C}"/>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424569810"/>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Empty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3691271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677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437C81F6-288B-4CD6-8434-31E05629586C}"/>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934B8D39-A21D-4C23-9BB3-0812B9F0884C}"/>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F763B716-FDA1-4D3C-824D-1B00864184A9}"/>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49679F60-0A60-49CD-A33B-A0143C31A6D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0" name="Text Placeholder 8">
            <a:extLst>
              <a:ext uri="{FF2B5EF4-FFF2-40B4-BE49-F238E27FC236}">
                <a16:creationId xmlns:a16="http://schemas.microsoft.com/office/drawing/2014/main" id="{D1CD4711-4D41-4B4B-B260-0ED56BC2605B}"/>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1" name="Cadre 10">
            <a:extLst>
              <a:ext uri="{FF2B5EF4-FFF2-40B4-BE49-F238E27FC236}">
                <a16:creationId xmlns:a16="http://schemas.microsoft.com/office/drawing/2014/main" id="{1F69778B-1BE8-4B74-A9C2-53A5A24C5B1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4" name="Text Placeholder 5">
            <a:extLst>
              <a:ext uri="{FF2B5EF4-FFF2-40B4-BE49-F238E27FC236}">
                <a16:creationId xmlns:a16="http://schemas.microsoft.com/office/drawing/2014/main" id="{A81E7374-DE66-4A4C-993E-9A02D2E28994}"/>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28725639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ntent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742869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72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pic>
        <p:nvPicPr>
          <p:cNvPr id="12" name="Graphique 8">
            <a:extLst>
              <a:ext uri="{FF2B5EF4-FFF2-40B4-BE49-F238E27FC236}">
                <a16:creationId xmlns:a16="http://schemas.microsoft.com/office/drawing/2014/main" id="{668B2CFD-22F1-4431-AF94-F5F28A5873D5}"/>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5" name="Titre 4">
            <a:extLst>
              <a:ext uri="{FF2B5EF4-FFF2-40B4-BE49-F238E27FC236}">
                <a16:creationId xmlns:a16="http://schemas.microsoft.com/office/drawing/2014/main" id="{4160477B-743B-492A-BC15-89FE6D09C284}"/>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6" name="Espace réservé du numéro de diapositive 2">
            <a:extLst>
              <a:ext uri="{FF2B5EF4-FFF2-40B4-BE49-F238E27FC236}">
                <a16:creationId xmlns:a16="http://schemas.microsoft.com/office/drawing/2014/main" id="{77A23A92-4733-4D64-9578-199845FA4004}"/>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7" name="Espace réservé du pied de page 4">
            <a:extLst>
              <a:ext uri="{FF2B5EF4-FFF2-40B4-BE49-F238E27FC236}">
                <a16:creationId xmlns:a16="http://schemas.microsoft.com/office/drawing/2014/main" id="{2143B5D6-D335-415F-ABD0-9712884C01B1}"/>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1" name="Text Placeholder 8">
            <a:extLst>
              <a:ext uri="{FF2B5EF4-FFF2-40B4-BE49-F238E27FC236}">
                <a16:creationId xmlns:a16="http://schemas.microsoft.com/office/drawing/2014/main" id="{4DA76F43-5248-440F-A481-AE3424C906AE}"/>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Cadre 12">
            <a:extLst>
              <a:ext uri="{FF2B5EF4-FFF2-40B4-BE49-F238E27FC236}">
                <a16:creationId xmlns:a16="http://schemas.microsoft.com/office/drawing/2014/main" id="{1F5493F3-3396-494C-B7AA-936DEA3472C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Text Placeholder 5">
            <a:extLst>
              <a:ext uri="{FF2B5EF4-FFF2-40B4-BE49-F238E27FC236}">
                <a16:creationId xmlns:a16="http://schemas.microsoft.com/office/drawing/2014/main" id="{F9A54449-0787-49BE-8221-6DC2BB765B5A}"/>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
        <p:nvSpPr>
          <p:cNvPr id="18" name="Espace réservé du contenu 2">
            <a:extLst>
              <a:ext uri="{FF2B5EF4-FFF2-40B4-BE49-F238E27FC236}">
                <a16:creationId xmlns:a16="http://schemas.microsoft.com/office/drawing/2014/main" id="{3BCC29E8-FA01-420B-86AB-93C9CF30F36D}"/>
              </a:ext>
            </a:extLst>
          </p:cNvPr>
          <p:cNvSpPr>
            <a:spLocks noGrp="1"/>
          </p:cNvSpPr>
          <p:nvPr>
            <p:ph idx="18" hasCustomPrompt="1"/>
          </p:nvPr>
        </p:nvSpPr>
        <p:spPr>
          <a:xfrm>
            <a:off x="404786" y="1808820"/>
            <a:ext cx="8319506" cy="3868080"/>
          </a:xfrm>
          <a:prstGeom prst="rect">
            <a:avLst/>
          </a:prstGeom>
        </p:spPr>
        <p:txBody>
          <a:bodyPr/>
          <a:lstStyle>
            <a:lvl1pPr>
              <a:defRPr>
                <a:solidFill>
                  <a:schemeClr val="bg1"/>
                </a:solidFill>
              </a:defRPr>
            </a:lvl1pPr>
            <a:lvl2pPr marL="447675" indent="-314325">
              <a:buFont typeface="Arial" panose="020B0604020202020204" pitchFamily="34" charset="0"/>
              <a:buChar cha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1</a:t>
            </a:r>
          </a:p>
          <a:p>
            <a:pPr lvl="2"/>
            <a:r>
              <a:rPr lang="en-GB" dirty="0"/>
              <a:t>Text level 2</a:t>
            </a:r>
          </a:p>
        </p:txBody>
      </p:sp>
    </p:spTree>
    <p:extLst>
      <p:ext uri="{BB962C8B-B14F-4D97-AF65-F5344CB8AC3E}">
        <p14:creationId xmlns:p14="http://schemas.microsoft.com/office/powerpoint/2010/main" val="3387335603"/>
      </p:ext>
    </p:extLst>
  </p:cSld>
  <p:clrMapOvr>
    <a:masterClrMapping/>
  </p:clrMapOvr>
  <p:extLst>
    <p:ext uri="{DCECCB84-F9BA-43D5-87BE-67443E8EF086}">
      <p15:sldGuideLst xmlns:p15="http://schemas.microsoft.com/office/powerpoint/2012/main">
        <p15:guide id="1" pos="248">
          <p15:clr>
            <a:srgbClr val="F26B43"/>
          </p15:clr>
        </p15:guide>
        <p15:guide id="2" pos="7428" userDrawn="1">
          <p15:clr>
            <a:srgbClr val="F26B43"/>
          </p15:clr>
        </p15:guide>
        <p15:guide id="3" orient="horz" pos="232" userDrawn="1">
          <p15:clr>
            <a:srgbClr val="F26B43"/>
          </p15:clr>
        </p15:guide>
        <p15:guide id="5" orient="horz" pos="1135" userDrawn="1">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167944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63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BBDD52F3-BBB0-4B91-8EEB-208C077F83A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A5925EE1-CD2E-4A0E-9B4A-F4222DBCD6C2}"/>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181314594"/>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2 columns_Violet Bg with divider">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4073076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687"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FC0E9943-F655-4D87-8A71-C5CD7B1F3302}"/>
              </a:ext>
            </a:extLst>
          </p:cNvPr>
          <p:cNvSpPr>
            <a:spLocks noGrp="1"/>
          </p:cNvSpPr>
          <p:nvPr>
            <p:ph idx="1" hasCustomPrompt="1"/>
          </p:nvPr>
        </p:nvSpPr>
        <p:spPr>
          <a:xfrm>
            <a:off x="404786"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66438B2F-8ED1-4D14-A1C7-E9F68322689E}"/>
              </a:ext>
            </a:extLst>
          </p:cNvPr>
          <p:cNvSpPr>
            <a:spLocks noGrp="1"/>
          </p:cNvSpPr>
          <p:nvPr>
            <p:ph idx="15" hasCustomPrompt="1"/>
          </p:nvPr>
        </p:nvSpPr>
        <p:spPr>
          <a:xfrm>
            <a:off x="6276022" y="1808820"/>
            <a:ext cx="551119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ACDC552B-8CDA-48CA-A8A8-811FCC54FFE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263ED53C-324B-4E02-A190-3A1DB4E58E0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15860257-6371-40C0-A1CD-7F88E895871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1" name="Espace réservé du pied de page 4">
            <a:extLst>
              <a:ext uri="{FF2B5EF4-FFF2-40B4-BE49-F238E27FC236}">
                <a16:creationId xmlns:a16="http://schemas.microsoft.com/office/drawing/2014/main" id="{C64E4412-2519-4051-AC29-ED56CF367D63}"/>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2" name="Text Placeholder 8">
            <a:extLst>
              <a:ext uri="{FF2B5EF4-FFF2-40B4-BE49-F238E27FC236}">
                <a16:creationId xmlns:a16="http://schemas.microsoft.com/office/drawing/2014/main" id="{7894B4D6-48C5-485B-A19E-2E2EFB7416D6}"/>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5" name="Straight Connector 35">
            <a:extLst>
              <a:ext uri="{FF2B5EF4-FFF2-40B4-BE49-F238E27FC236}">
                <a16:creationId xmlns:a16="http://schemas.microsoft.com/office/drawing/2014/main" id="{23DB9D5B-DC75-428B-A756-12D2B3B16114}"/>
              </a:ext>
            </a:extLst>
          </p:cNvPr>
          <p:cNvCxnSpPr>
            <a:cxnSpLocks/>
          </p:cNvCxnSpPr>
          <p:nvPr userDrawn="1"/>
        </p:nvCxnSpPr>
        <p:spPr>
          <a:xfrm flipV="1">
            <a:off x="609593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A69985D8-FF27-401D-AE13-C8809DEE9C6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9" name="Text Placeholder 5">
            <a:extLst>
              <a:ext uri="{FF2B5EF4-FFF2-40B4-BE49-F238E27FC236}">
                <a16:creationId xmlns:a16="http://schemas.microsoft.com/office/drawing/2014/main" id="{1E443905-DD6D-4529-8F0A-C4C0DAAF9FF5}"/>
              </a:ext>
            </a:extLst>
          </p:cNvPr>
          <p:cNvSpPr>
            <a:spLocks noGrp="1"/>
          </p:cNvSpPr>
          <p:nvPr>
            <p:ph type="body" sz="quarter" idx="18"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279229466"/>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ummary">
    <p:bg>
      <p:bgPr>
        <a:solidFill>
          <a:schemeClr val="bg2"/>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7CED06AF-D77F-40B5-AC37-133B89CE02D4}"/>
              </a:ext>
            </a:extLst>
          </p:cNvPr>
          <p:cNvGraphicFramePr>
            <a:graphicFrameLocks noChangeAspect="1"/>
          </p:cNvGraphicFramePr>
          <p:nvPr userDrawn="1">
            <p:custDataLst>
              <p:tags r:id="rId2"/>
            </p:custDataLst>
            <p:extLst>
              <p:ext uri="{D42A27DB-BD31-4B8C-83A1-F6EECF244321}">
                <p14:modId xmlns:p14="http://schemas.microsoft.com/office/powerpoint/2010/main" val="12326662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964" name="Diapositive think-cell" r:id="rId4" imgW="532" imgH="530" progId="TCLayout.ActiveDocument.1">
                  <p:embed/>
                </p:oleObj>
              </mc:Choice>
              <mc:Fallback>
                <p:oleObj name="Diapositive think-cell"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F68F1563-018F-44B3-B1BA-431C2F106E20}"/>
              </a:ext>
            </a:extLst>
          </p:cNvPr>
          <p:cNvSpPr>
            <a:spLocks noGrp="1"/>
          </p:cNvSpPr>
          <p:nvPr>
            <p:ph type="title"/>
          </p:nvPr>
        </p:nvSpPr>
        <p:spPr>
          <a:xfrm>
            <a:off x="459207" y="425366"/>
            <a:ext cx="7551996" cy="923330"/>
          </a:xfrm>
        </p:spPr>
        <p:txBody>
          <a:bodyPr lIns="72000" anchor="b">
            <a:spAutoFit/>
          </a:bodyPr>
          <a:lstStyle>
            <a:lvl1pPr>
              <a:defRPr sz="6000" spc="-200" baseline="0">
                <a:solidFill>
                  <a:schemeClr val="bg1"/>
                </a:solidFill>
              </a:defRPr>
            </a:lvl1pPr>
          </a:lstStyle>
          <a:p>
            <a:r>
              <a:rPr lang="nb-NO" noProof="0"/>
              <a:t>Klikk for å redigere tittelstil</a:t>
            </a:r>
            <a:endParaRPr lang="nb-NO" noProof="0" dirty="0"/>
          </a:p>
        </p:txBody>
      </p:sp>
      <p:sp>
        <p:nvSpPr>
          <p:cNvPr id="9" name="Espace réservé du texte 8">
            <a:extLst>
              <a:ext uri="{FF2B5EF4-FFF2-40B4-BE49-F238E27FC236}">
                <a16:creationId xmlns:a16="http://schemas.microsoft.com/office/drawing/2014/main" id="{A137A81A-F5D3-4438-B99F-AC1EABFB6631}"/>
              </a:ext>
            </a:extLst>
          </p:cNvPr>
          <p:cNvSpPr>
            <a:spLocks noGrp="1"/>
          </p:cNvSpPr>
          <p:nvPr>
            <p:ph type="body" sz="quarter" idx="13" hasCustomPrompt="1"/>
          </p:nvPr>
        </p:nvSpPr>
        <p:spPr>
          <a:xfrm>
            <a:off x="464988" y="1649866"/>
            <a:ext cx="7546216" cy="661720"/>
          </a:xfrm>
          <a:prstGeom prst="rect">
            <a:avLst/>
          </a:prstGeom>
        </p:spPr>
        <p:txBody>
          <a:bodyPr wrap="square" lIns="108000" rIns="180000">
            <a:spAutoFit/>
          </a:bodyPr>
          <a:lstStyle>
            <a:lvl1pPr marL="450850" indent="-450850">
              <a:lnSpc>
                <a:spcPct val="100000"/>
              </a:lnSpc>
              <a:spcBef>
                <a:spcPts val="1800"/>
              </a:spcBef>
              <a:buSzPct val="100000"/>
              <a:buFont typeface="+mj-lt"/>
              <a:buAutoNum type="arabicPeriod"/>
              <a:defRPr sz="1600">
                <a:solidFill>
                  <a:schemeClr val="bg1"/>
                </a:solidFill>
                <a:latin typeface="+mn-lt"/>
              </a:defRPr>
            </a:lvl1pPr>
            <a:lvl2pPr marL="447675" indent="-314325">
              <a:lnSpc>
                <a:spcPct val="100000"/>
              </a:lnSpc>
              <a:buFont typeface="Arial" panose="020B0604020202020204" pitchFamily="34" charset="0"/>
              <a:buChar char=" "/>
              <a:defRPr sz="1600">
                <a:solidFill>
                  <a:schemeClr val="bg1"/>
                </a:solidFill>
              </a:defRPr>
            </a:lvl2pPr>
            <a:lvl3pPr marL="542925" indent="0">
              <a:buNone/>
              <a:defRPr>
                <a:solidFill>
                  <a:schemeClr val="bg1"/>
                </a:solidFill>
              </a:defRPr>
            </a:lvl3pPr>
            <a:lvl4pPr>
              <a:defRPr>
                <a:solidFill>
                  <a:schemeClr val="bg1"/>
                </a:solidFill>
              </a:defRPr>
            </a:lvl4pPr>
            <a:lvl5pPr>
              <a:defRPr>
                <a:solidFill>
                  <a:schemeClr val="bg1"/>
                </a:solidFill>
              </a:defRPr>
            </a:lvl5pPr>
          </a:lstStyle>
          <a:p>
            <a:pPr lvl="0"/>
            <a:r>
              <a:rPr lang="en-GB" dirty="0"/>
              <a:t>Your text here</a:t>
            </a:r>
          </a:p>
          <a:p>
            <a:pPr lvl="1"/>
            <a:r>
              <a:rPr lang="en-GB" dirty="0"/>
              <a:t>Text level 2</a:t>
            </a:r>
          </a:p>
        </p:txBody>
      </p:sp>
      <p:pic>
        <p:nvPicPr>
          <p:cNvPr id="10" name="Graphique 8">
            <a:extLst>
              <a:ext uri="{FF2B5EF4-FFF2-40B4-BE49-F238E27FC236}">
                <a16:creationId xmlns:a16="http://schemas.microsoft.com/office/drawing/2014/main" id="{9A9743B7-8D0B-4F4B-900B-FE6932488C3C}"/>
              </a:ext>
            </a:extLst>
          </p:cNvPr>
          <p:cNvPicPr>
            <a:picLocks noChangeAspect="1"/>
          </p:cNvPicPr>
          <p:nvPr userDrawn="1"/>
        </p:nvPicPr>
        <p:blipFill>
          <a:blip r:embed="rId6">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Espace réservé du numéro de diapositive 2">
            <a:extLst>
              <a:ext uri="{FF2B5EF4-FFF2-40B4-BE49-F238E27FC236}">
                <a16:creationId xmlns:a16="http://schemas.microsoft.com/office/drawing/2014/main" id="{0DC99564-1E2A-412E-A628-7BCE8232D5EA}"/>
              </a:ext>
            </a:extLst>
          </p:cNvPr>
          <p:cNvSpPr>
            <a:spLocks noGrp="1"/>
          </p:cNvSpPr>
          <p:nvPr>
            <p:ph type="sldNum" sz="quarter" idx="1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2" name="Espace réservé du pied de page 4">
            <a:extLst>
              <a:ext uri="{FF2B5EF4-FFF2-40B4-BE49-F238E27FC236}">
                <a16:creationId xmlns:a16="http://schemas.microsoft.com/office/drawing/2014/main" id="{26F3B280-A751-4795-8CA3-6E2A172C029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1" name="Cadre 10">
            <a:extLst>
              <a:ext uri="{FF2B5EF4-FFF2-40B4-BE49-F238E27FC236}">
                <a16:creationId xmlns:a16="http://schemas.microsoft.com/office/drawing/2014/main" id="{6F646978-984E-4505-9B5C-9086DFEE204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566412616"/>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082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65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Cadre 16">
            <a:extLst>
              <a:ext uri="{FF2B5EF4-FFF2-40B4-BE49-F238E27FC236}">
                <a16:creationId xmlns:a16="http://schemas.microsoft.com/office/drawing/2014/main" id="{752D4BAC-73DB-4CB5-B77A-A9F7350DB68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0" name="Text Placeholder 5">
            <a:extLst>
              <a:ext uri="{FF2B5EF4-FFF2-40B4-BE49-F238E27FC236}">
                <a16:creationId xmlns:a16="http://schemas.microsoft.com/office/drawing/2014/main" id="{426EDF6B-3086-43E5-A0E3-18E19E75AB9D}"/>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326762859"/>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userDrawn="1">
          <p15:clr>
            <a:srgbClr val="F26B43"/>
          </p15:clr>
        </p15:guide>
        <p15:guide id="5" orient="horz" pos="1135">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3 columns_Violet Bg with dividers">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401950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71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3" name="Content Placeholder 2">
            <a:extLst>
              <a:ext uri="{FF2B5EF4-FFF2-40B4-BE49-F238E27FC236}">
                <a16:creationId xmlns:a16="http://schemas.microsoft.com/office/drawing/2014/main" id="{2B84738E-FC65-4057-B3F9-EDDD50E90A80}"/>
              </a:ext>
            </a:extLst>
          </p:cNvPr>
          <p:cNvSpPr>
            <a:spLocks noGrp="1"/>
          </p:cNvSpPr>
          <p:nvPr>
            <p:ph idx="1" hasCustomPrompt="1"/>
          </p:nvPr>
        </p:nvSpPr>
        <p:spPr>
          <a:xfrm>
            <a:off x="404786"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14" name="Content Placeholder 2">
            <a:extLst>
              <a:ext uri="{FF2B5EF4-FFF2-40B4-BE49-F238E27FC236}">
                <a16:creationId xmlns:a16="http://schemas.microsoft.com/office/drawing/2014/main" id="{787E670E-DB4B-44E8-8FE3-D62DABA7F3D8}"/>
              </a:ext>
            </a:extLst>
          </p:cNvPr>
          <p:cNvSpPr>
            <a:spLocks noGrp="1"/>
          </p:cNvSpPr>
          <p:nvPr>
            <p:ph idx="15" hasCustomPrompt="1"/>
          </p:nvPr>
        </p:nvSpPr>
        <p:spPr>
          <a:xfrm>
            <a:off x="4279090"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15" name="Content Placeholder 2">
            <a:extLst>
              <a:ext uri="{FF2B5EF4-FFF2-40B4-BE49-F238E27FC236}">
                <a16:creationId xmlns:a16="http://schemas.microsoft.com/office/drawing/2014/main" id="{49614C37-0687-453B-98AC-92943109E118}"/>
              </a:ext>
            </a:extLst>
          </p:cNvPr>
          <p:cNvSpPr>
            <a:spLocks noGrp="1"/>
          </p:cNvSpPr>
          <p:nvPr>
            <p:ph idx="16" hasCustomPrompt="1"/>
          </p:nvPr>
        </p:nvSpPr>
        <p:spPr>
          <a:xfrm>
            <a:off x="8153368" y="1808820"/>
            <a:ext cx="3633820"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sz="1600">
                <a:solidFill>
                  <a:schemeClr val="bg1"/>
                </a:solidFill>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pic>
        <p:nvPicPr>
          <p:cNvPr id="18" name="Graphique 8">
            <a:extLst>
              <a:ext uri="{FF2B5EF4-FFF2-40B4-BE49-F238E27FC236}">
                <a16:creationId xmlns:a16="http://schemas.microsoft.com/office/drawing/2014/main" id="{63FE658E-9ADA-4627-B4E3-4DE0E374FD5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3" name="Titre 2">
            <a:extLst>
              <a:ext uri="{FF2B5EF4-FFF2-40B4-BE49-F238E27FC236}">
                <a16:creationId xmlns:a16="http://schemas.microsoft.com/office/drawing/2014/main" id="{511B61A5-D4C6-4685-8C16-DCFA216B92B1}"/>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2" name="Espace réservé du numéro de diapositive 2">
            <a:extLst>
              <a:ext uri="{FF2B5EF4-FFF2-40B4-BE49-F238E27FC236}">
                <a16:creationId xmlns:a16="http://schemas.microsoft.com/office/drawing/2014/main" id="{F2B16B7C-A9B4-4FD7-826E-9D73B19E65A0}"/>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3" name="Espace réservé du pied de page 4">
            <a:extLst>
              <a:ext uri="{FF2B5EF4-FFF2-40B4-BE49-F238E27FC236}">
                <a16:creationId xmlns:a16="http://schemas.microsoft.com/office/drawing/2014/main" id="{B0C6C810-3AC8-4CF2-81C8-1D7058CBD48D}"/>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6" name="Text Placeholder 8">
            <a:extLst>
              <a:ext uri="{FF2B5EF4-FFF2-40B4-BE49-F238E27FC236}">
                <a16:creationId xmlns:a16="http://schemas.microsoft.com/office/drawing/2014/main" id="{7BDDDA5B-7CD0-43A3-9A8B-D5946ECB060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7" name="Straight Connector 35">
            <a:extLst>
              <a:ext uri="{FF2B5EF4-FFF2-40B4-BE49-F238E27FC236}">
                <a16:creationId xmlns:a16="http://schemas.microsoft.com/office/drawing/2014/main" id="{983523C1-7153-4692-B90B-65F30FC43340}"/>
              </a:ext>
            </a:extLst>
          </p:cNvPr>
          <p:cNvCxnSpPr>
            <a:cxnSpLocks/>
          </p:cNvCxnSpPr>
          <p:nvPr userDrawn="1"/>
        </p:nvCxnSpPr>
        <p:spPr>
          <a:xfrm flipV="1">
            <a:off x="4158848"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68E2FD7F-148A-4626-93A8-57B0F05B1379}"/>
              </a:ext>
            </a:extLst>
          </p:cNvPr>
          <p:cNvCxnSpPr>
            <a:cxnSpLocks/>
          </p:cNvCxnSpPr>
          <p:nvPr userDrawn="1"/>
        </p:nvCxnSpPr>
        <p:spPr>
          <a:xfrm flipV="1">
            <a:off x="803313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B232E484-4563-4A71-9DDC-EE6C0E44DBE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1" name="Text Placeholder 5">
            <a:extLst>
              <a:ext uri="{FF2B5EF4-FFF2-40B4-BE49-F238E27FC236}">
                <a16:creationId xmlns:a16="http://schemas.microsoft.com/office/drawing/2014/main" id="{F40076C0-E4EA-4B32-8A67-B88BF86ECC13}"/>
              </a:ext>
            </a:extLst>
          </p:cNvPr>
          <p:cNvSpPr>
            <a:spLocks noGrp="1"/>
          </p:cNvSpPr>
          <p:nvPr>
            <p:ph type="body" sz="quarter" idx="19"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1642363707"/>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5">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 columns_Violet Bg ">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1302335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73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sp>
        <p:nvSpPr>
          <p:cNvPr id="15" name="Content Placeholder 2">
            <a:extLst>
              <a:ext uri="{FF2B5EF4-FFF2-40B4-BE49-F238E27FC236}">
                <a16:creationId xmlns:a16="http://schemas.microsoft.com/office/drawing/2014/main" id="{A2E8BB07-B67E-46A3-983C-459CF2A9231C}"/>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904DA21D-F627-4FE5-9AB1-E7433AA0327D}"/>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98957F28-66B5-4ECC-AA41-7CCADEDEAC7F}"/>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3F65E827-F95D-4C8F-84F2-47397F0206A3}"/>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16" name="Text Placeholder 8">
            <a:extLst>
              <a:ext uri="{FF2B5EF4-FFF2-40B4-BE49-F238E27FC236}">
                <a16:creationId xmlns:a16="http://schemas.microsoft.com/office/drawing/2014/main" id="{DECC98CB-42ED-4358-8632-DB1E5894A4AC}"/>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7" name="Espace réservé du pied de page 4">
            <a:extLst>
              <a:ext uri="{FF2B5EF4-FFF2-40B4-BE49-F238E27FC236}">
                <a16:creationId xmlns:a16="http://schemas.microsoft.com/office/drawing/2014/main" id="{4B2C0F4A-6984-48C5-B4CD-E7BBF23E1018}"/>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3" name="Espace réservé du numéro de diapositive 2">
            <a:extLst>
              <a:ext uri="{FF2B5EF4-FFF2-40B4-BE49-F238E27FC236}">
                <a16:creationId xmlns:a16="http://schemas.microsoft.com/office/drawing/2014/main" id="{A5504A1B-576C-4AEF-94C6-8ABC9093DC51}"/>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3" name="Text Placeholder 5">
            <a:extLst>
              <a:ext uri="{FF2B5EF4-FFF2-40B4-BE49-F238E27FC236}">
                <a16:creationId xmlns:a16="http://schemas.microsoft.com/office/drawing/2014/main" id="{BC578CCC-EDB7-4322-A715-598B7CD25A6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914697598"/>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76">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 columns_Violet Bg with dividers">
    <p:bg>
      <p:bgPr>
        <a:solidFill>
          <a:schemeClr val="accent4"/>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2889312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759"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6" name="Titre 5">
            <a:extLst>
              <a:ext uri="{FF2B5EF4-FFF2-40B4-BE49-F238E27FC236}">
                <a16:creationId xmlns:a16="http://schemas.microsoft.com/office/drawing/2014/main" id="{826B9503-2AC4-450D-A0D4-5019A3085BE9}"/>
              </a:ext>
            </a:extLst>
          </p:cNvPr>
          <p:cNvSpPr>
            <a:spLocks noGrp="1"/>
          </p:cNvSpPr>
          <p:nvPr>
            <p:ph type="title" hasCustomPrompt="1"/>
          </p:nvPr>
        </p:nvSpPr>
        <p:spPr>
          <a:xfrm>
            <a:off x="404786" y="382816"/>
            <a:ext cx="11382428" cy="480131"/>
          </a:xfrm>
        </p:spPr>
        <p:txBody>
          <a:bodyPr/>
          <a:lstStyle>
            <a:lvl1pPr>
              <a:defRPr>
                <a:solidFill>
                  <a:schemeClr val="bg1"/>
                </a:solidFill>
              </a:defRPr>
            </a:lvl1pPr>
          </a:lstStyle>
          <a:p>
            <a:r>
              <a:rPr lang="fr-FR" dirty="0" err="1"/>
              <a:t>Title</a:t>
            </a:r>
            <a:r>
              <a:rPr lang="fr-FR" dirty="0"/>
              <a:t> of the slide</a:t>
            </a:r>
          </a:p>
        </p:txBody>
      </p:sp>
      <p:cxnSp>
        <p:nvCxnSpPr>
          <p:cNvPr id="16" name="Straight Connector 35">
            <a:extLst>
              <a:ext uri="{FF2B5EF4-FFF2-40B4-BE49-F238E27FC236}">
                <a16:creationId xmlns:a16="http://schemas.microsoft.com/office/drawing/2014/main" id="{5BACBC25-5487-4894-AB69-DC61AF350FEE}"/>
              </a:ext>
            </a:extLst>
          </p:cNvPr>
          <p:cNvCxnSpPr>
            <a:cxnSpLocks/>
          </p:cNvCxnSpPr>
          <p:nvPr userDrawn="1"/>
        </p:nvCxnSpPr>
        <p:spPr>
          <a:xfrm flipV="1">
            <a:off x="3190903"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8" name="Straight Connector 35">
            <a:extLst>
              <a:ext uri="{FF2B5EF4-FFF2-40B4-BE49-F238E27FC236}">
                <a16:creationId xmlns:a16="http://schemas.microsoft.com/office/drawing/2014/main" id="{F1570288-B026-49B2-AE34-8E27B6EB2D8D}"/>
              </a:ext>
            </a:extLst>
          </p:cNvPr>
          <p:cNvCxnSpPr>
            <a:cxnSpLocks/>
          </p:cNvCxnSpPr>
          <p:nvPr userDrawn="1"/>
        </p:nvCxnSpPr>
        <p:spPr>
          <a:xfrm flipV="1">
            <a:off x="6095986"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9" name="Straight Connector 35">
            <a:extLst>
              <a:ext uri="{FF2B5EF4-FFF2-40B4-BE49-F238E27FC236}">
                <a16:creationId xmlns:a16="http://schemas.microsoft.com/office/drawing/2014/main" id="{FDF868AB-0A81-40C5-9695-1BD120946D0A}"/>
              </a:ext>
            </a:extLst>
          </p:cNvPr>
          <p:cNvCxnSpPr>
            <a:cxnSpLocks/>
          </p:cNvCxnSpPr>
          <p:nvPr userDrawn="1"/>
        </p:nvCxnSpPr>
        <p:spPr>
          <a:xfrm flipV="1">
            <a:off x="9001069" y="1808820"/>
            <a:ext cx="0" cy="3868080"/>
          </a:xfrm>
          <a:prstGeom prst="line">
            <a:avLst/>
          </a:prstGeom>
          <a:ln w="12700">
            <a:gradFill>
              <a:gsLst>
                <a:gs pos="0">
                  <a:schemeClr val="bg1">
                    <a:alpha val="0"/>
                  </a:schemeClr>
                </a:gs>
                <a:gs pos="55000">
                  <a:schemeClr val="bg1"/>
                </a:gs>
                <a:gs pos="100000">
                  <a:schemeClr val="bg1">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7" name="Content Placeholder 2">
            <a:extLst>
              <a:ext uri="{FF2B5EF4-FFF2-40B4-BE49-F238E27FC236}">
                <a16:creationId xmlns:a16="http://schemas.microsoft.com/office/drawing/2014/main" id="{0B87A726-5D45-49B7-B6E4-02D113462CA8}"/>
              </a:ext>
            </a:extLst>
          </p:cNvPr>
          <p:cNvSpPr>
            <a:spLocks noGrp="1"/>
          </p:cNvSpPr>
          <p:nvPr>
            <p:ph idx="19" hasCustomPrompt="1"/>
          </p:nvPr>
        </p:nvSpPr>
        <p:spPr>
          <a:xfrm>
            <a:off x="404785"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0" name="Content Placeholder 2">
            <a:extLst>
              <a:ext uri="{FF2B5EF4-FFF2-40B4-BE49-F238E27FC236}">
                <a16:creationId xmlns:a16="http://schemas.microsoft.com/office/drawing/2014/main" id="{48469EBA-FCE4-409D-99AD-B18807B78960}"/>
              </a:ext>
            </a:extLst>
          </p:cNvPr>
          <p:cNvSpPr>
            <a:spLocks noGrp="1"/>
          </p:cNvSpPr>
          <p:nvPr>
            <p:ph idx="20" hasCustomPrompt="1"/>
          </p:nvPr>
        </p:nvSpPr>
        <p:spPr>
          <a:xfrm>
            <a:off x="3309877"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1" name="Content Placeholder 2">
            <a:extLst>
              <a:ext uri="{FF2B5EF4-FFF2-40B4-BE49-F238E27FC236}">
                <a16:creationId xmlns:a16="http://schemas.microsoft.com/office/drawing/2014/main" id="{E5B593F1-F213-4F09-9902-DFB955D2770C}"/>
              </a:ext>
            </a:extLst>
          </p:cNvPr>
          <p:cNvSpPr>
            <a:spLocks noGrp="1"/>
          </p:cNvSpPr>
          <p:nvPr>
            <p:ph idx="21" hasCustomPrompt="1"/>
          </p:nvPr>
        </p:nvSpPr>
        <p:spPr>
          <a:xfrm>
            <a:off x="6214969"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2" name="Content Placeholder 2">
            <a:extLst>
              <a:ext uri="{FF2B5EF4-FFF2-40B4-BE49-F238E27FC236}">
                <a16:creationId xmlns:a16="http://schemas.microsoft.com/office/drawing/2014/main" id="{7CE1EB90-82E9-4FC8-B6D3-007BF2FBE500}"/>
              </a:ext>
            </a:extLst>
          </p:cNvPr>
          <p:cNvSpPr>
            <a:spLocks noGrp="1"/>
          </p:cNvSpPr>
          <p:nvPr>
            <p:ph idx="22" hasCustomPrompt="1"/>
          </p:nvPr>
        </p:nvSpPr>
        <p:spPr>
          <a:xfrm>
            <a:off x="9120060" y="1808820"/>
            <a:ext cx="2667154" cy="3868080"/>
          </a:xfrm>
          <a:prstGeom prst="rect">
            <a:avLst/>
          </a:prstGeom>
        </p:spPr>
        <p:txBody>
          <a:bodyPr>
            <a:noAutofit/>
          </a:bodyPr>
          <a:lstStyle>
            <a:lvl1pPr>
              <a:spcBef>
                <a:spcPts val="1800"/>
              </a:spcBef>
              <a:defRPr sz="1600">
                <a:solidFill>
                  <a:schemeClr val="bg1"/>
                </a:solidFill>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lang="en-GB" sz="1600" kern="1200" dirty="0">
                <a:solidFill>
                  <a:schemeClr val="bg1"/>
                </a:solidFill>
                <a:latin typeface="+mn-lt"/>
                <a:ea typeface="+mn-ea"/>
                <a:cs typeface="+mn-cs"/>
              </a:defRPr>
            </a:lvl2pPr>
            <a:lvl3pPr>
              <a:defRPr sz="1400">
                <a:solidFill>
                  <a:schemeClr val="bg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pPr>
            <a:r>
              <a:rPr lang="en-GB" dirty="0"/>
              <a:t>Second level</a:t>
            </a:r>
          </a:p>
          <a:p>
            <a:pPr lvl="2"/>
            <a:r>
              <a:rPr lang="en-GB" dirty="0"/>
              <a:t>Third level</a:t>
            </a:r>
          </a:p>
        </p:txBody>
      </p:sp>
      <p:sp>
        <p:nvSpPr>
          <p:cNvPr id="26" name="Text Placeholder 8">
            <a:extLst>
              <a:ext uri="{FF2B5EF4-FFF2-40B4-BE49-F238E27FC236}">
                <a16:creationId xmlns:a16="http://schemas.microsoft.com/office/drawing/2014/main" id="{8D0EA6A7-13A6-4F7C-BD66-1B36B778A722}"/>
              </a:ext>
            </a:extLst>
          </p:cNvPr>
          <p:cNvSpPr>
            <a:spLocks noGrp="1"/>
          </p:cNvSpPr>
          <p:nvPr>
            <p:ph type="body" sz="quarter" idx="23"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7" name="Espace réservé du pied de page 4">
            <a:extLst>
              <a:ext uri="{FF2B5EF4-FFF2-40B4-BE49-F238E27FC236}">
                <a16:creationId xmlns:a16="http://schemas.microsoft.com/office/drawing/2014/main" id="{41A1F7B3-78F2-4338-8319-8B897FA823B9}"/>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5" name="Espace réservé du numéro de diapositive 4">
            <a:extLst>
              <a:ext uri="{FF2B5EF4-FFF2-40B4-BE49-F238E27FC236}">
                <a16:creationId xmlns:a16="http://schemas.microsoft.com/office/drawing/2014/main" id="{ED3453C5-5187-47ED-80EA-CF36689212CA}"/>
              </a:ext>
            </a:extLst>
          </p:cNvPr>
          <p:cNvSpPr>
            <a:spLocks noGrp="1"/>
          </p:cNvSpPr>
          <p:nvPr>
            <p:ph type="sldNum" sz="quarter" idx="24"/>
          </p:nvPr>
        </p:nvSpPr>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4" name="Text Placeholder 5">
            <a:extLst>
              <a:ext uri="{FF2B5EF4-FFF2-40B4-BE49-F238E27FC236}">
                <a16:creationId xmlns:a16="http://schemas.microsoft.com/office/drawing/2014/main" id="{F090C5BD-4BCD-4A76-B315-2E94DF27945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892611182"/>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3847817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698" name="Diapositive think-cell" r:id="rId5" imgW="532" imgH="530" progId="TCLayout.ActiveDocument.1">
                  <p:embed/>
                </p:oleObj>
              </mc:Choice>
              <mc:Fallback>
                <p:oleObj name="Diapositive think-cell" r:id="rId5" imgW="532" imgH="53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4" name="Titre 3">
            <a:extLst>
              <a:ext uri="{FF2B5EF4-FFF2-40B4-BE49-F238E27FC236}">
                <a16:creationId xmlns:a16="http://schemas.microsoft.com/office/drawing/2014/main" id="{8A63819D-3826-4C37-A6B2-F6BF2FA7C128}"/>
              </a:ext>
            </a:extLst>
          </p:cNvPr>
          <p:cNvSpPr>
            <a:spLocks noGrp="1"/>
          </p:cNvSpPr>
          <p:nvPr>
            <p:ph type="title" hasCustomPrompt="1"/>
          </p:nvPr>
        </p:nvSpPr>
        <p:spPr/>
        <p:txBody>
          <a:bodyPr/>
          <a:lstStyle>
            <a:lvl1pPr>
              <a:defRPr/>
            </a:lvl1pPr>
          </a:lstStyle>
          <a:p>
            <a:r>
              <a:rPr lang="nb-NO" noProof="0"/>
              <a:t>Title of the slide</a:t>
            </a:r>
          </a:p>
        </p:txBody>
      </p:sp>
      <p:sp>
        <p:nvSpPr>
          <p:cNvPr id="11" name="Text Placeholder 8">
            <a:extLst>
              <a:ext uri="{FF2B5EF4-FFF2-40B4-BE49-F238E27FC236}">
                <a16:creationId xmlns:a16="http://schemas.microsoft.com/office/drawing/2014/main" id="{2E3BBFF9-605D-4045-AFCA-0630CAF62903}"/>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10" name="Cadre 9">
            <a:extLst>
              <a:ext uri="{FF2B5EF4-FFF2-40B4-BE49-F238E27FC236}">
                <a16:creationId xmlns:a16="http://schemas.microsoft.com/office/drawing/2014/main" id="{890877FE-2B52-4BAA-A5B3-3185907E441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13" name="Text Placeholder 5">
            <a:extLst>
              <a:ext uri="{FF2B5EF4-FFF2-40B4-BE49-F238E27FC236}">
                <a16:creationId xmlns:a16="http://schemas.microsoft.com/office/drawing/2014/main" id="{AC3FB288-71BB-4BE4-BA5F-316EB2EBC053}"/>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rgbClr val="2F469C"/>
                </a:solidFill>
              </a:defRPr>
            </a:lvl1pPr>
          </a:lstStyle>
          <a:p>
            <a:pPr lvl="0"/>
            <a:r>
              <a:rPr lang="nb-NO" noProof="0" dirty="0" err="1"/>
              <a:t>Subtitle</a:t>
            </a:r>
            <a:r>
              <a:rPr lang="nb-NO" noProof="0" dirty="0"/>
              <a:t> </a:t>
            </a:r>
            <a:r>
              <a:rPr lang="nb-NO" noProof="0" dirty="0" err="1"/>
              <a:t>of</a:t>
            </a:r>
            <a:r>
              <a:rPr lang="nb-NO" noProof="0" dirty="0"/>
              <a:t> </a:t>
            </a:r>
            <a:r>
              <a:rPr lang="nb-NO" noProof="0" dirty="0" err="1"/>
              <a:t>the</a:t>
            </a:r>
            <a:r>
              <a:rPr lang="nb-NO" noProof="0" dirty="0"/>
              <a:t> slide</a:t>
            </a:r>
          </a:p>
        </p:txBody>
      </p:sp>
    </p:spTree>
    <p:extLst>
      <p:ext uri="{BB962C8B-B14F-4D97-AF65-F5344CB8AC3E}">
        <p14:creationId xmlns:p14="http://schemas.microsoft.com/office/powerpoint/2010/main" val="2871359840"/>
      </p:ext>
    </p:extLst>
  </p:cSld>
  <p:clrMapOvr>
    <a:masterClrMapping/>
  </p:clrMapOvr>
  <p:extLst>
    <p:ext uri="{DCECCB84-F9BA-43D5-87BE-67443E8EF086}">
      <p15:sldGuideLst xmlns:p15="http://schemas.microsoft.com/office/powerpoint/2012/main">
        <p15:guide id="1" pos="247" userDrawn="1">
          <p15:clr>
            <a:srgbClr val="F26B43"/>
          </p15:clr>
        </p15:guide>
        <p15:guide id="2" pos="7427" userDrawn="1">
          <p15:clr>
            <a:srgbClr val="F26B43"/>
          </p15:clr>
        </p15:guide>
        <p15:guide id="3" orient="horz" pos="232" userDrawn="1">
          <p15:clr>
            <a:srgbClr val="F26B43"/>
          </p15:clr>
        </p15:guide>
        <p15:guide id="4" orient="horz" pos="600" userDrawn="1">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21526982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85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nb-NO" noProof="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nb-NO" noProof="0"/>
              <a:t>Title</a:t>
            </a:r>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nb-NO" noProof="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nb-NO" noProof="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nb-NO" noProof="0" dirty="0" err="1"/>
              <a:t>Click</a:t>
            </a:r>
            <a:r>
              <a:rPr lang="nb-NO" noProof="0" dirty="0"/>
              <a:t> to </a:t>
            </a:r>
            <a:r>
              <a:rPr lang="nb-NO" noProof="0" dirty="0" err="1"/>
              <a:t>change</a:t>
            </a:r>
            <a:r>
              <a:rPr lang="nb-NO" noProof="0" dirty="0"/>
              <a:t> </a:t>
            </a:r>
            <a:r>
              <a:rPr lang="nb-NO" noProof="0" dirty="0" err="1"/>
              <a:t>the</a:t>
            </a:r>
            <a:r>
              <a:rPr lang="nb-NO" noProof="0" dirty="0"/>
              <a:t> </a:t>
            </a:r>
            <a:r>
              <a:rPr lang="nb-NO" noProof="0" dirty="0" err="1"/>
              <a:t>text</a:t>
            </a:r>
            <a:r>
              <a:rPr lang="nb-NO" noProof="0" dirty="0"/>
              <a:t> styles </a:t>
            </a:r>
            <a:r>
              <a:rPr lang="nb-NO" noProof="0" dirty="0" err="1"/>
              <a:t>on</a:t>
            </a:r>
            <a:r>
              <a:rPr lang="nb-NO" noProof="0" dirty="0"/>
              <a:t> </a:t>
            </a:r>
            <a:r>
              <a:rPr lang="nb-NO" noProof="0" dirty="0" err="1"/>
              <a:t>the</a:t>
            </a:r>
            <a:r>
              <a:rPr lang="nb-NO" noProof="0" dirty="0"/>
              <a:t> slide master</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nb-NO" noProof="0" dirty="0" err="1"/>
              <a:t>Click</a:t>
            </a:r>
            <a:r>
              <a:rPr lang="nb-NO" noProof="0" dirty="0"/>
              <a:t> to </a:t>
            </a:r>
            <a:r>
              <a:rPr lang="nb-NO" noProof="0" dirty="0" err="1"/>
              <a:t>change</a:t>
            </a:r>
            <a:r>
              <a:rPr lang="nb-NO" noProof="0" dirty="0"/>
              <a:t> </a:t>
            </a:r>
            <a:r>
              <a:rPr lang="nb-NO" noProof="0" dirty="0" err="1"/>
              <a:t>the</a:t>
            </a:r>
            <a:r>
              <a:rPr lang="nb-NO" noProof="0" dirty="0"/>
              <a:t> </a:t>
            </a:r>
            <a:r>
              <a:rPr lang="nb-NO" noProof="0" dirty="0" err="1"/>
              <a:t>text</a:t>
            </a:r>
            <a:r>
              <a:rPr lang="nb-NO" noProof="0" dirty="0"/>
              <a:t> styles </a:t>
            </a:r>
            <a:r>
              <a:rPr lang="nb-NO" noProof="0" dirty="0" err="1"/>
              <a:t>on</a:t>
            </a:r>
            <a:r>
              <a:rPr lang="nb-NO" noProof="0" dirty="0"/>
              <a:t> </a:t>
            </a:r>
            <a:r>
              <a:rPr lang="nb-NO" noProof="0" dirty="0" err="1"/>
              <a:t>the</a:t>
            </a:r>
            <a:r>
              <a:rPr lang="nb-NO" noProof="0" dirty="0"/>
              <a:t> slide master</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nb-NO" noProof="0" dirty="0" err="1"/>
              <a:t>Click</a:t>
            </a:r>
            <a:r>
              <a:rPr lang="nb-NO" noProof="0" dirty="0"/>
              <a:t> to </a:t>
            </a:r>
            <a:r>
              <a:rPr lang="nb-NO" noProof="0" dirty="0" err="1"/>
              <a:t>change</a:t>
            </a:r>
            <a:r>
              <a:rPr lang="nb-NO" noProof="0" dirty="0"/>
              <a:t> </a:t>
            </a:r>
            <a:r>
              <a:rPr lang="nb-NO" noProof="0" dirty="0" err="1"/>
              <a:t>the</a:t>
            </a:r>
            <a:r>
              <a:rPr lang="nb-NO" noProof="0" dirty="0"/>
              <a:t> </a:t>
            </a:r>
            <a:r>
              <a:rPr lang="nb-NO" noProof="0" dirty="0" err="1"/>
              <a:t>text</a:t>
            </a:r>
            <a:r>
              <a:rPr lang="nb-NO" noProof="0" dirty="0"/>
              <a:t> styles </a:t>
            </a:r>
            <a:r>
              <a:rPr lang="nb-NO" noProof="0" dirty="0" err="1"/>
              <a:t>on</a:t>
            </a:r>
            <a:r>
              <a:rPr lang="nb-NO" noProof="0" dirty="0"/>
              <a:t> </a:t>
            </a:r>
            <a:r>
              <a:rPr lang="nb-NO" noProof="0" dirty="0" err="1"/>
              <a:t>the</a:t>
            </a:r>
            <a:r>
              <a:rPr lang="nb-NO" noProof="0" dirty="0"/>
              <a:t> slide master</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nb-NO" noProof="0" dirty="0" err="1"/>
              <a:t>Click</a:t>
            </a:r>
            <a:r>
              <a:rPr lang="nb-NO" noProof="0" dirty="0"/>
              <a:t> to </a:t>
            </a:r>
            <a:r>
              <a:rPr lang="nb-NO" noProof="0" dirty="0" err="1"/>
              <a:t>change</a:t>
            </a:r>
            <a:r>
              <a:rPr lang="nb-NO" noProof="0" dirty="0"/>
              <a:t> </a:t>
            </a:r>
            <a:r>
              <a:rPr lang="nb-NO" noProof="0" dirty="0" err="1"/>
              <a:t>the</a:t>
            </a:r>
            <a:r>
              <a:rPr lang="nb-NO" noProof="0" dirty="0"/>
              <a:t> </a:t>
            </a:r>
            <a:r>
              <a:rPr lang="nb-NO" noProof="0" dirty="0" err="1"/>
              <a:t>text</a:t>
            </a:r>
            <a:r>
              <a:rPr lang="nb-NO" noProof="0" dirty="0"/>
              <a:t> styles </a:t>
            </a:r>
            <a:r>
              <a:rPr lang="nb-NO" noProof="0" dirty="0" err="1"/>
              <a:t>on</a:t>
            </a:r>
            <a:r>
              <a:rPr lang="nb-NO" noProof="0" dirty="0"/>
              <a:t> </a:t>
            </a:r>
            <a:r>
              <a:rPr lang="nb-NO" noProof="0" dirty="0" err="1"/>
              <a:t>the</a:t>
            </a:r>
            <a:r>
              <a:rPr lang="nb-NO" noProof="0" dirty="0"/>
              <a:t> slide master</a:t>
            </a:r>
          </a:p>
          <a:p>
            <a:pPr lvl="1"/>
            <a:r>
              <a:rPr lang="nb-NO" noProof="0" dirty="0"/>
              <a:t>Second </a:t>
            </a:r>
            <a:r>
              <a:rPr lang="nb-NO" noProof="0" dirty="0" err="1"/>
              <a:t>level</a:t>
            </a:r>
            <a:endParaRPr lang="nb-NO" noProof="0" dirty="0"/>
          </a:p>
          <a:p>
            <a:pPr lvl="2"/>
            <a:r>
              <a:rPr lang="nb-NO" noProof="0" dirty="0"/>
              <a:t>Third </a:t>
            </a:r>
            <a:r>
              <a:rPr lang="nb-NO" noProof="0" dirty="0" err="1"/>
              <a:t>level</a:t>
            </a:r>
            <a:endParaRPr lang="nb-NO" noProof="0" dirty="0"/>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nb-NO" noProof="0"/>
              <a:t>Title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28" name="Cadre 27">
            <a:extLst>
              <a:ext uri="{FF2B5EF4-FFF2-40B4-BE49-F238E27FC236}">
                <a16:creationId xmlns:a16="http://schemas.microsoft.com/office/drawing/2014/main" id="{DEB3BC3E-E116-4E0A-97F3-66A29CB1DC5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21" name="Text Placeholder 5">
            <a:extLst>
              <a:ext uri="{FF2B5EF4-FFF2-40B4-BE49-F238E27FC236}">
                <a16:creationId xmlns:a16="http://schemas.microsoft.com/office/drawing/2014/main" id="{58438A79-7265-451F-8F84-EB08D57EE577}"/>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rgbClr val="2F469C"/>
                </a:solidFill>
              </a:defRPr>
            </a:lvl1pPr>
          </a:lstStyle>
          <a:p>
            <a:pPr lvl="0"/>
            <a:r>
              <a:rPr lang="nb-NO" noProof="0" dirty="0" err="1"/>
              <a:t>Subtitle</a:t>
            </a:r>
            <a:r>
              <a:rPr lang="nb-NO" noProof="0" dirty="0"/>
              <a:t> </a:t>
            </a:r>
            <a:r>
              <a:rPr lang="nb-NO" noProof="0" dirty="0" err="1"/>
              <a:t>of</a:t>
            </a:r>
            <a:r>
              <a:rPr lang="nb-NO" noProof="0" dirty="0"/>
              <a:t> </a:t>
            </a:r>
            <a:r>
              <a:rPr lang="nb-NO" noProof="0" dirty="0" err="1"/>
              <a:t>the</a:t>
            </a:r>
            <a:r>
              <a:rPr lang="nb-NO" noProof="0" dirty="0"/>
              <a:t> slide</a:t>
            </a:r>
          </a:p>
        </p:txBody>
      </p:sp>
    </p:spTree>
    <p:extLst>
      <p:ext uri="{BB962C8B-B14F-4D97-AF65-F5344CB8AC3E}">
        <p14:creationId xmlns:p14="http://schemas.microsoft.com/office/powerpoint/2010/main" val="217976475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4134648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979"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nb-NO" noProof="0"/>
              <a:t>Title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25" name="Espace réservé du texte 4">
            <a:extLst>
              <a:ext uri="{FF2B5EF4-FFF2-40B4-BE49-F238E27FC236}">
                <a16:creationId xmlns:a16="http://schemas.microsoft.com/office/drawing/2014/main" id="{1A62086C-76E4-4718-9B87-7C2FB4830775}"/>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nb-NO" noProof="0"/>
              <a:t>Title</a:t>
            </a:r>
          </a:p>
        </p:txBody>
      </p:sp>
      <p:sp>
        <p:nvSpPr>
          <p:cNvPr id="26" name="Espace réservé du texte 4">
            <a:extLst>
              <a:ext uri="{FF2B5EF4-FFF2-40B4-BE49-F238E27FC236}">
                <a16:creationId xmlns:a16="http://schemas.microsoft.com/office/drawing/2014/main" id="{1F85B39E-ADE6-4814-B538-973092E927F1}"/>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nb-NO" noProof="0"/>
              <a:t>Title</a:t>
            </a:r>
          </a:p>
        </p:txBody>
      </p:sp>
      <p:sp>
        <p:nvSpPr>
          <p:cNvPr id="28" name="Espace réservé du texte 4">
            <a:extLst>
              <a:ext uri="{FF2B5EF4-FFF2-40B4-BE49-F238E27FC236}">
                <a16:creationId xmlns:a16="http://schemas.microsoft.com/office/drawing/2014/main" id="{9CE6EC93-06F2-4F91-965C-189C479505A1}"/>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nb-NO" noProof="0"/>
              <a:t>Title</a:t>
            </a:r>
          </a:p>
        </p:txBody>
      </p:sp>
      <p:sp>
        <p:nvSpPr>
          <p:cNvPr id="29" name="Espace réservé du texte 15">
            <a:extLst>
              <a:ext uri="{FF2B5EF4-FFF2-40B4-BE49-F238E27FC236}">
                <a16:creationId xmlns:a16="http://schemas.microsoft.com/office/drawing/2014/main" id="{F78CE628-C138-44AB-BF90-4CD6DCBF6C9B}"/>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30" name="Espace réservé du texte 15">
            <a:extLst>
              <a:ext uri="{FF2B5EF4-FFF2-40B4-BE49-F238E27FC236}">
                <a16:creationId xmlns:a16="http://schemas.microsoft.com/office/drawing/2014/main" id="{6683BE0B-F7A1-470B-9F10-E4277EE351EC}"/>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32" name="Espace réservé du texte 15">
            <a:extLst>
              <a:ext uri="{FF2B5EF4-FFF2-40B4-BE49-F238E27FC236}">
                <a16:creationId xmlns:a16="http://schemas.microsoft.com/office/drawing/2014/main" id="{4171E4E7-27E3-4CAE-8117-8B0985E3269E}"/>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33" name="Espace réservé du texte 4">
            <a:extLst>
              <a:ext uri="{FF2B5EF4-FFF2-40B4-BE49-F238E27FC236}">
                <a16:creationId xmlns:a16="http://schemas.microsoft.com/office/drawing/2014/main" id="{CF196C90-BFA5-4EB1-809E-257C96ED6B2B}"/>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nb-NO" noProof="0"/>
              <a:t>Title</a:t>
            </a:r>
          </a:p>
        </p:txBody>
      </p:sp>
      <p:sp>
        <p:nvSpPr>
          <p:cNvPr id="34" name="Espace réservé du texte 15">
            <a:extLst>
              <a:ext uri="{FF2B5EF4-FFF2-40B4-BE49-F238E27FC236}">
                <a16:creationId xmlns:a16="http://schemas.microsoft.com/office/drawing/2014/main" id="{BA8D7796-2153-4B06-BE09-A751E28741D5}"/>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10"/>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nb-NO" noProof="0"/>
              <a:t>Click to change the text styles on the slide master</a:t>
            </a:r>
          </a:p>
          <a:p>
            <a:pPr marL="447675" lvl="1" indent="-314325" algn="l" defTabSz="914400" rtl="0" eaLnBrk="1" latinLnBrk="0" hangingPunct="1">
              <a:lnSpc>
                <a:spcPct val="100000"/>
              </a:lnSpc>
              <a:spcBef>
                <a:spcPts val="600"/>
              </a:spcBef>
              <a:buSzPct val="80000"/>
              <a:buFontTx/>
              <a:buBlip>
                <a:blip r:embed="rId11"/>
              </a:buBlip>
            </a:pPr>
            <a:r>
              <a:rPr lang="nb-NO" noProof="0"/>
              <a:t>Second level</a:t>
            </a:r>
          </a:p>
          <a:p>
            <a:pPr lvl="2"/>
            <a:r>
              <a:rPr lang="nb-NO" noProof="0"/>
              <a:t>Third level</a:t>
            </a:r>
          </a:p>
        </p:txBody>
      </p:sp>
      <p:sp>
        <p:nvSpPr>
          <p:cNvPr id="35" name="Cadre 34">
            <a:extLst>
              <a:ext uri="{FF2B5EF4-FFF2-40B4-BE49-F238E27FC236}">
                <a16:creationId xmlns:a16="http://schemas.microsoft.com/office/drawing/2014/main" id="{5950ADE3-A3C7-426D-AFD5-0939554DBFB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17" name="Text Placeholder 5">
            <a:extLst>
              <a:ext uri="{FF2B5EF4-FFF2-40B4-BE49-F238E27FC236}">
                <a16:creationId xmlns:a16="http://schemas.microsoft.com/office/drawing/2014/main" id="{6C401719-DE65-4BED-82B6-EEC883CD2F53}"/>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rgbClr val="2F469C"/>
                </a:solidFill>
              </a:defRPr>
            </a:lvl1pPr>
          </a:lstStyle>
          <a:p>
            <a:pPr lvl="0"/>
            <a:r>
              <a:rPr lang="nb-NO" noProof="0" dirty="0" err="1"/>
              <a:t>Subtitle</a:t>
            </a:r>
            <a:r>
              <a:rPr lang="nb-NO" noProof="0" dirty="0"/>
              <a:t> </a:t>
            </a:r>
            <a:r>
              <a:rPr lang="nb-NO" noProof="0" dirty="0" err="1"/>
              <a:t>of</a:t>
            </a:r>
            <a:r>
              <a:rPr lang="nb-NO" noProof="0" dirty="0"/>
              <a:t> </a:t>
            </a:r>
            <a:r>
              <a:rPr lang="nb-NO" noProof="0" dirty="0" err="1"/>
              <a:t>the</a:t>
            </a:r>
            <a:r>
              <a:rPr lang="nb-NO" noProof="0" dirty="0"/>
              <a:t> slide</a:t>
            </a:r>
          </a:p>
        </p:txBody>
      </p:sp>
    </p:spTree>
    <p:extLst>
      <p:ext uri="{BB962C8B-B14F-4D97-AF65-F5344CB8AC3E}">
        <p14:creationId xmlns:p14="http://schemas.microsoft.com/office/powerpoint/2010/main" val="27106178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4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2864258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78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nb-NO" noProof="0" smtClean="0"/>
              <a:pPr/>
              <a:t>‹#›</a:t>
            </a:fld>
            <a:r>
              <a:rPr lang="nb-NO" noProof="0"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nb-NO" noProof="0"/>
              <a:t>Title of the slide</a:t>
            </a:r>
          </a:p>
        </p:txBody>
      </p:sp>
      <p:sp>
        <p:nvSpPr>
          <p:cNvPr id="20" name="Text Placeholder 8">
            <a:extLst>
              <a:ext uri="{FF2B5EF4-FFF2-40B4-BE49-F238E27FC236}">
                <a16:creationId xmlns:a16="http://schemas.microsoft.com/office/drawing/2014/main" id="{72A123BC-64B8-4F7B-855D-41D9EB63A6F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nb-NO" noProof="0"/>
              <a:t>Sources:</a:t>
            </a:r>
          </a:p>
        </p:txBody>
      </p:sp>
      <p:sp>
        <p:nvSpPr>
          <p:cNvPr id="22" name="Espace réservé du texte 4">
            <a:extLst>
              <a:ext uri="{FF2B5EF4-FFF2-40B4-BE49-F238E27FC236}">
                <a16:creationId xmlns:a16="http://schemas.microsoft.com/office/drawing/2014/main" id="{FFF7EE1B-7DB4-488B-B26D-A38B11675A8E}"/>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nb-NO" noProof="0"/>
              <a:t>Title</a:t>
            </a:r>
          </a:p>
        </p:txBody>
      </p:sp>
      <p:sp>
        <p:nvSpPr>
          <p:cNvPr id="23" name="Espace réservé du texte 4">
            <a:extLst>
              <a:ext uri="{FF2B5EF4-FFF2-40B4-BE49-F238E27FC236}">
                <a16:creationId xmlns:a16="http://schemas.microsoft.com/office/drawing/2014/main" id="{96518655-1BBA-4FB9-A1A1-87676ECAF404}"/>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nb-NO" noProof="0"/>
              <a:t>Title</a:t>
            </a:r>
          </a:p>
        </p:txBody>
      </p:sp>
      <p:sp>
        <p:nvSpPr>
          <p:cNvPr id="24" name="Espace réservé du texte 4">
            <a:extLst>
              <a:ext uri="{FF2B5EF4-FFF2-40B4-BE49-F238E27FC236}">
                <a16:creationId xmlns:a16="http://schemas.microsoft.com/office/drawing/2014/main" id="{8634DFA4-CD88-4C57-A92C-47493D245D0F}"/>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nb-NO" noProof="0"/>
              <a:t>Title</a:t>
            </a:r>
          </a:p>
        </p:txBody>
      </p:sp>
      <p:sp>
        <p:nvSpPr>
          <p:cNvPr id="25" name="Espace réservé du texte 4">
            <a:extLst>
              <a:ext uri="{FF2B5EF4-FFF2-40B4-BE49-F238E27FC236}">
                <a16:creationId xmlns:a16="http://schemas.microsoft.com/office/drawing/2014/main" id="{09285BF7-E824-44DC-8939-2EEDF8EAB5ED}"/>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nb-NO" noProof="0"/>
              <a:t>Title</a:t>
            </a:r>
          </a:p>
        </p:txBody>
      </p:sp>
      <p:sp>
        <p:nvSpPr>
          <p:cNvPr id="26" name="Espace réservé du texte 15">
            <a:extLst>
              <a:ext uri="{FF2B5EF4-FFF2-40B4-BE49-F238E27FC236}">
                <a16:creationId xmlns:a16="http://schemas.microsoft.com/office/drawing/2014/main" id="{7EA390A2-E2D4-4D20-BDB9-C874325BA370}"/>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27" name="Espace réservé du texte 15">
            <a:extLst>
              <a:ext uri="{FF2B5EF4-FFF2-40B4-BE49-F238E27FC236}">
                <a16:creationId xmlns:a16="http://schemas.microsoft.com/office/drawing/2014/main" id="{1564D801-B0E6-43C3-8B94-0E89FD96100D}"/>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28" name="Espace réservé du texte 15">
            <a:extLst>
              <a:ext uri="{FF2B5EF4-FFF2-40B4-BE49-F238E27FC236}">
                <a16:creationId xmlns:a16="http://schemas.microsoft.com/office/drawing/2014/main" id="{461F3D26-7698-4382-817D-06AE9A8CDF0C}"/>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sp>
        <p:nvSpPr>
          <p:cNvPr id="29" name="Espace réservé du texte 15">
            <a:extLst>
              <a:ext uri="{FF2B5EF4-FFF2-40B4-BE49-F238E27FC236}">
                <a16:creationId xmlns:a16="http://schemas.microsoft.com/office/drawing/2014/main" id="{B611E923-D3EE-49B7-A936-85891DEAA76C}"/>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nb-NO" noProof="0"/>
              <a:t>Click to change the text styles on the slide master</a:t>
            </a:r>
          </a:p>
          <a:p>
            <a:pPr lvl="1"/>
            <a:r>
              <a:rPr lang="nb-NO" noProof="0"/>
              <a:t>Second level</a:t>
            </a:r>
          </a:p>
          <a:p>
            <a:pPr lvl="2"/>
            <a:r>
              <a:rPr lang="nb-NO" noProof="0"/>
              <a:t>Third level</a:t>
            </a:r>
          </a:p>
        </p:txBody>
      </p:sp>
      <p:cxnSp>
        <p:nvCxnSpPr>
          <p:cNvPr id="30" name="Straight Connector 35">
            <a:extLst>
              <a:ext uri="{FF2B5EF4-FFF2-40B4-BE49-F238E27FC236}">
                <a16:creationId xmlns:a16="http://schemas.microsoft.com/office/drawing/2014/main" id="{F37A373E-B0C6-4A3A-88BD-3C093DFFB918}"/>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0BDAA492-5340-46F7-A09D-5F68BE925AB6}"/>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8EDA2254-B51E-42A4-9F98-3E60FD4D7E0B}"/>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A212F427-1752-4AF4-86EE-581E8AB69C8B}"/>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sp>
        <p:nvSpPr>
          <p:cNvPr id="21" name="Text Placeholder 5">
            <a:extLst>
              <a:ext uri="{FF2B5EF4-FFF2-40B4-BE49-F238E27FC236}">
                <a16:creationId xmlns:a16="http://schemas.microsoft.com/office/drawing/2014/main" id="{B25DC3F6-601C-4FCA-83CC-29DB0FC6A8F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rgbClr val="2F469C"/>
                </a:solidFill>
              </a:defRPr>
            </a:lvl1pPr>
          </a:lstStyle>
          <a:p>
            <a:pPr lvl="0"/>
            <a:r>
              <a:rPr lang="nb-NO" noProof="0" dirty="0" err="1"/>
              <a:t>Subtitle</a:t>
            </a:r>
            <a:r>
              <a:rPr lang="nb-NO" noProof="0" dirty="0"/>
              <a:t> </a:t>
            </a:r>
            <a:r>
              <a:rPr lang="nb-NO" noProof="0" dirty="0" err="1"/>
              <a:t>of</a:t>
            </a:r>
            <a:r>
              <a:rPr lang="nb-NO" noProof="0" dirty="0"/>
              <a:t> </a:t>
            </a:r>
            <a:r>
              <a:rPr lang="nb-NO" noProof="0" dirty="0" err="1"/>
              <a:t>the</a:t>
            </a:r>
            <a:r>
              <a:rPr lang="nb-NO" noProof="0" dirty="0"/>
              <a:t> slide</a:t>
            </a:r>
          </a:p>
        </p:txBody>
      </p:sp>
    </p:spTree>
    <p:extLst>
      <p:ext uri="{BB962C8B-B14F-4D97-AF65-F5344CB8AC3E}">
        <p14:creationId xmlns:p14="http://schemas.microsoft.com/office/powerpoint/2010/main" val="68951969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 columns with colored titles [V2]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1837317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809"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DAB39EE-A592-42CC-A3A7-B1D1A851EA3B}"/>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Espace réservé du texte 4">
            <a:extLst>
              <a:ext uri="{FF2B5EF4-FFF2-40B4-BE49-F238E27FC236}">
                <a16:creationId xmlns:a16="http://schemas.microsoft.com/office/drawing/2014/main" id="{5FBBBE71-038F-47FD-AA2F-DDF7087FA884}"/>
              </a:ext>
            </a:extLst>
          </p:cNvPr>
          <p:cNvSpPr>
            <a:spLocks noGrp="1"/>
          </p:cNvSpPr>
          <p:nvPr>
            <p:ph type="body" sz="quarter" idx="20" hasCustomPrompt="1"/>
          </p:nvPr>
        </p:nvSpPr>
        <p:spPr>
          <a:xfrm>
            <a:off x="404786" y="1993900"/>
            <a:ext cx="2378846" cy="341632"/>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3" name="Espace réservé du texte 4">
            <a:extLst>
              <a:ext uri="{FF2B5EF4-FFF2-40B4-BE49-F238E27FC236}">
                <a16:creationId xmlns:a16="http://schemas.microsoft.com/office/drawing/2014/main" id="{019C832B-ADC5-4655-A9BB-B9E27C49AAA6}"/>
              </a:ext>
            </a:extLst>
          </p:cNvPr>
          <p:cNvSpPr>
            <a:spLocks noGrp="1"/>
          </p:cNvSpPr>
          <p:nvPr>
            <p:ph type="body" sz="quarter" idx="21" hasCustomPrompt="1"/>
          </p:nvPr>
        </p:nvSpPr>
        <p:spPr>
          <a:xfrm>
            <a:off x="3405979" y="1993900"/>
            <a:ext cx="2378846" cy="341632"/>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4" name="Espace réservé du texte 4">
            <a:extLst>
              <a:ext uri="{FF2B5EF4-FFF2-40B4-BE49-F238E27FC236}">
                <a16:creationId xmlns:a16="http://schemas.microsoft.com/office/drawing/2014/main" id="{33B8FF24-5350-4358-8A61-01E632CBA034}"/>
              </a:ext>
            </a:extLst>
          </p:cNvPr>
          <p:cNvSpPr>
            <a:spLocks noGrp="1"/>
          </p:cNvSpPr>
          <p:nvPr>
            <p:ph type="body" sz="quarter" idx="22" hasCustomPrompt="1"/>
          </p:nvPr>
        </p:nvSpPr>
        <p:spPr>
          <a:xfrm>
            <a:off x="6407173" y="1993900"/>
            <a:ext cx="2378846"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5" name="Espace réservé du texte 4">
            <a:extLst>
              <a:ext uri="{FF2B5EF4-FFF2-40B4-BE49-F238E27FC236}">
                <a16:creationId xmlns:a16="http://schemas.microsoft.com/office/drawing/2014/main" id="{F6A611CF-4A0C-414F-97D1-05D2E00D9491}"/>
              </a:ext>
            </a:extLst>
          </p:cNvPr>
          <p:cNvSpPr>
            <a:spLocks noGrp="1"/>
          </p:cNvSpPr>
          <p:nvPr>
            <p:ph type="body" sz="quarter" idx="23" hasCustomPrompt="1"/>
          </p:nvPr>
        </p:nvSpPr>
        <p:spPr>
          <a:xfrm>
            <a:off x="9408368" y="1993900"/>
            <a:ext cx="2378846" cy="341632"/>
          </a:xfrm>
          <a:prstGeom prst="rect">
            <a:avLst/>
          </a:prstGeom>
          <a:noFill/>
        </p:spPr>
        <p:txBody>
          <a:bodyPr lIns="72000" rIns="0" anchor="t">
            <a:spAutoFit/>
          </a:bodyPr>
          <a:lstStyle>
            <a:lvl1pPr marL="0" indent="0" algn="l">
              <a:buNone/>
              <a:defRPr b="1" cap="all" baseline="0">
                <a:solidFill>
                  <a:schemeClr val="accent1"/>
                </a:solidFill>
              </a:defRPr>
            </a:lvl1pPr>
          </a:lstStyle>
          <a:p>
            <a:pPr lvl="0"/>
            <a:r>
              <a:rPr lang="en-GB" dirty="0"/>
              <a:t>Title</a:t>
            </a:r>
          </a:p>
        </p:txBody>
      </p:sp>
      <p:sp>
        <p:nvSpPr>
          <p:cNvPr id="26" name="Espace réservé du texte 15">
            <a:extLst>
              <a:ext uri="{FF2B5EF4-FFF2-40B4-BE49-F238E27FC236}">
                <a16:creationId xmlns:a16="http://schemas.microsoft.com/office/drawing/2014/main" id="{14D079C5-56C5-4829-9279-B9D159053C09}"/>
              </a:ext>
            </a:extLst>
          </p:cNvPr>
          <p:cNvSpPr>
            <a:spLocks noGrp="1"/>
          </p:cNvSpPr>
          <p:nvPr>
            <p:ph type="body" sz="quarter" idx="24" hasCustomPrompt="1"/>
          </p:nvPr>
        </p:nvSpPr>
        <p:spPr>
          <a:xfrm>
            <a:off x="404786" y="278548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7" name="Espace réservé du texte 15">
            <a:extLst>
              <a:ext uri="{FF2B5EF4-FFF2-40B4-BE49-F238E27FC236}">
                <a16:creationId xmlns:a16="http://schemas.microsoft.com/office/drawing/2014/main" id="{A8B2B706-3906-4253-B6DB-A7C2AFD16B11}"/>
              </a:ext>
            </a:extLst>
          </p:cNvPr>
          <p:cNvSpPr>
            <a:spLocks noGrp="1"/>
          </p:cNvSpPr>
          <p:nvPr>
            <p:ph type="body" sz="quarter" idx="25" hasCustomPrompt="1"/>
          </p:nvPr>
        </p:nvSpPr>
        <p:spPr>
          <a:xfrm>
            <a:off x="3405979" y="278548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8" name="Espace réservé du texte 15">
            <a:extLst>
              <a:ext uri="{FF2B5EF4-FFF2-40B4-BE49-F238E27FC236}">
                <a16:creationId xmlns:a16="http://schemas.microsoft.com/office/drawing/2014/main" id="{829361D3-585B-4494-AC11-E01E8991D2BE}"/>
              </a:ext>
            </a:extLst>
          </p:cNvPr>
          <p:cNvSpPr>
            <a:spLocks noGrp="1"/>
          </p:cNvSpPr>
          <p:nvPr>
            <p:ph type="body" sz="quarter" idx="26" hasCustomPrompt="1"/>
          </p:nvPr>
        </p:nvSpPr>
        <p:spPr>
          <a:xfrm>
            <a:off x="6407172" y="2785487"/>
            <a:ext cx="2378847" cy="1477328"/>
          </a:xfrm>
          <a:prstGeom prst="rect">
            <a:avLst/>
          </a:prstGeom>
        </p:spPr>
        <p:txBody>
          <a:bodyPr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en-GB" dirty="0"/>
              <a:t>Second level</a:t>
            </a:r>
          </a:p>
          <a:p>
            <a:pPr lvl="2"/>
            <a:r>
              <a:rPr lang="en-GB" dirty="0"/>
              <a:t>Third level</a:t>
            </a:r>
          </a:p>
        </p:txBody>
      </p:sp>
      <p:sp>
        <p:nvSpPr>
          <p:cNvPr id="29" name="Espace réservé du texte 15">
            <a:extLst>
              <a:ext uri="{FF2B5EF4-FFF2-40B4-BE49-F238E27FC236}">
                <a16:creationId xmlns:a16="http://schemas.microsoft.com/office/drawing/2014/main" id="{432D91E9-DE40-4B4D-9E1B-9DBA866F3398}"/>
              </a:ext>
            </a:extLst>
          </p:cNvPr>
          <p:cNvSpPr>
            <a:spLocks noGrp="1"/>
          </p:cNvSpPr>
          <p:nvPr>
            <p:ph type="body" sz="quarter" idx="27" hasCustomPrompt="1"/>
          </p:nvPr>
        </p:nvSpPr>
        <p:spPr>
          <a:xfrm>
            <a:off x="9408367" y="2785487"/>
            <a:ext cx="2378847" cy="1477328"/>
          </a:xfrm>
          <a:prstGeom prst="rect">
            <a:avLst/>
          </a:prstGeom>
        </p:spPr>
        <p:txBody>
          <a:bodyPr lIns="0" rIns="0">
            <a:spAutoFit/>
          </a:bodyPr>
          <a:lstStyle>
            <a:lvl1pPr>
              <a:defRPr sz="1600"/>
            </a:lvl1pPr>
            <a:lvl2pPr marL="447675" indent="-314325">
              <a:buFontTx/>
              <a:buBlip>
                <a:blip r:embed="rId11"/>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cxnSp>
        <p:nvCxnSpPr>
          <p:cNvPr id="30" name="Straight Connector 35">
            <a:extLst>
              <a:ext uri="{FF2B5EF4-FFF2-40B4-BE49-F238E27FC236}">
                <a16:creationId xmlns:a16="http://schemas.microsoft.com/office/drawing/2014/main" id="{4D161E9A-7872-4440-9E61-28B41BBA4C74}"/>
              </a:ext>
            </a:extLst>
          </p:cNvPr>
          <p:cNvCxnSpPr>
            <a:cxnSpLocks/>
          </p:cNvCxnSpPr>
          <p:nvPr userDrawn="1"/>
        </p:nvCxnSpPr>
        <p:spPr>
          <a:xfrm flipV="1">
            <a:off x="3094806"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1" name="Straight Connector 35">
            <a:extLst>
              <a:ext uri="{FF2B5EF4-FFF2-40B4-BE49-F238E27FC236}">
                <a16:creationId xmlns:a16="http://schemas.microsoft.com/office/drawing/2014/main" id="{CBF43B31-2F37-4F9B-ABAB-B30C401656C8}"/>
              </a:ext>
            </a:extLst>
          </p:cNvPr>
          <p:cNvCxnSpPr>
            <a:cxnSpLocks/>
          </p:cNvCxnSpPr>
          <p:nvPr userDrawn="1"/>
        </p:nvCxnSpPr>
        <p:spPr>
          <a:xfrm flipV="1">
            <a:off x="6095999"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32" name="Straight Connector 35">
            <a:extLst>
              <a:ext uri="{FF2B5EF4-FFF2-40B4-BE49-F238E27FC236}">
                <a16:creationId xmlns:a16="http://schemas.microsoft.com/office/drawing/2014/main" id="{29B91B6C-BAB5-4232-87EA-0EA2E4093CD3}"/>
              </a:ext>
            </a:extLst>
          </p:cNvPr>
          <p:cNvCxnSpPr>
            <a:cxnSpLocks/>
          </p:cNvCxnSpPr>
          <p:nvPr userDrawn="1"/>
        </p:nvCxnSpPr>
        <p:spPr>
          <a:xfrm flipV="1">
            <a:off x="909719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3" name="Cadre 32">
            <a:extLst>
              <a:ext uri="{FF2B5EF4-FFF2-40B4-BE49-F238E27FC236}">
                <a16:creationId xmlns:a16="http://schemas.microsoft.com/office/drawing/2014/main" id="{CAFBA9EB-068D-4D30-BD0A-3F25A790893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1" name="Text Placeholder 5">
            <a:extLst>
              <a:ext uri="{FF2B5EF4-FFF2-40B4-BE49-F238E27FC236}">
                <a16:creationId xmlns:a16="http://schemas.microsoft.com/office/drawing/2014/main" id="{11AF9E57-26F4-4C2A-A3E6-651DA79602F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rgbClr val="2F469C"/>
                </a:solidFill>
              </a:defRPr>
            </a:lvl1pPr>
          </a:lstStyle>
          <a:p>
            <a:pPr lvl="0"/>
            <a:r>
              <a:rPr lang="en-GB" dirty="0"/>
              <a:t>Subtitle of the slide</a:t>
            </a:r>
          </a:p>
        </p:txBody>
      </p:sp>
    </p:spTree>
    <p:extLst>
      <p:ext uri="{BB962C8B-B14F-4D97-AF65-F5344CB8AC3E}">
        <p14:creationId xmlns:p14="http://schemas.microsoft.com/office/powerpoint/2010/main" val="5046030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 columns with colored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8544466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874"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3" name="Cadre 22">
            <a:extLst>
              <a:ext uri="{FF2B5EF4-FFF2-40B4-BE49-F238E27FC236}">
                <a16:creationId xmlns:a16="http://schemas.microsoft.com/office/drawing/2014/main" id="{A6E5563B-23BC-4408-B9D4-58AD99313E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5" name="Text Placeholder 5">
            <a:extLst>
              <a:ext uri="{FF2B5EF4-FFF2-40B4-BE49-F238E27FC236}">
                <a16:creationId xmlns:a16="http://schemas.microsoft.com/office/drawing/2014/main" id="{96F6327A-7EEE-4DB7-82D1-8D63B948B301}"/>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rgbClr val="2F469C"/>
                </a:solidFill>
              </a:defRPr>
            </a:lvl1pPr>
          </a:lstStyle>
          <a:p>
            <a:pPr lvl="0"/>
            <a:r>
              <a:rPr lang="en-GB" dirty="0"/>
              <a:t>Subtitle of the slide</a:t>
            </a:r>
          </a:p>
        </p:txBody>
      </p:sp>
    </p:spTree>
    <p:extLst>
      <p:ext uri="{BB962C8B-B14F-4D97-AF65-F5344CB8AC3E}">
        <p14:creationId xmlns:p14="http://schemas.microsoft.com/office/powerpoint/2010/main" val="323594791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hapter_1">
    <p:bg>
      <p:bgPr>
        <a:solidFill>
          <a:schemeClr val="bg2"/>
        </a:soli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2"/>
            </p:custDataLst>
            <p:extLst>
              <p:ext uri="{D42A27DB-BD31-4B8C-83A1-F6EECF244321}">
                <p14:modId xmlns:p14="http://schemas.microsoft.com/office/powerpoint/2010/main" val="257532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86" name="Diapositive think-cell" r:id="rId5" imgW="532" imgH="530" progId="TCLayout.ActiveDocument.1">
                  <p:embed/>
                </p:oleObj>
              </mc:Choice>
              <mc:Fallback>
                <p:oleObj name="Diapositive think-cell" r:id="rId5" imgW="532" imgH="53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Forme libre : forme 13">
            <a:extLst>
              <a:ext uri="{FF2B5EF4-FFF2-40B4-BE49-F238E27FC236}">
                <a16:creationId xmlns:a16="http://schemas.microsoft.com/office/drawing/2014/main" id="{D42A29F8-8B81-4FB1-8852-D3129D82F2F7}"/>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6" name="Graphique 8">
            <a:extLst>
              <a:ext uri="{FF2B5EF4-FFF2-40B4-BE49-F238E27FC236}">
                <a16:creationId xmlns:a16="http://schemas.microsoft.com/office/drawing/2014/main" id="{E4759D16-3C68-46E4-914B-85AEC88CBD33}"/>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7" name="Espace réservé du numéro de diapositive 2">
            <a:extLst>
              <a:ext uri="{FF2B5EF4-FFF2-40B4-BE49-F238E27FC236}">
                <a16:creationId xmlns:a16="http://schemas.microsoft.com/office/drawing/2014/main" id="{3DEA2039-7C0C-4137-BC63-7489537E8A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8" name="Espace réservé du pied de page 4">
            <a:extLst>
              <a:ext uri="{FF2B5EF4-FFF2-40B4-BE49-F238E27FC236}">
                <a16:creationId xmlns:a16="http://schemas.microsoft.com/office/drawing/2014/main" id="{6F0D60AE-1577-4008-9F3D-2335AB963E1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20" name="Cadre 19">
            <a:extLst>
              <a:ext uri="{FF2B5EF4-FFF2-40B4-BE49-F238E27FC236}">
                <a16:creationId xmlns:a16="http://schemas.microsoft.com/office/drawing/2014/main" id="{907E0E55-DA25-4581-B98C-62CD55A16F5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974098006"/>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840901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8003"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515C157A-6F74-44A8-9785-4A8F9335C023}"/>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A3F60031-8B36-438E-A717-35784DD2D5A1}"/>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2942971D-C98D-4428-A689-9423825AAD87}"/>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A6334CC9-1D70-4436-83AA-B17CBD593119}"/>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20EA07A4-D40F-47BA-8114-083CB3AD118C}"/>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B648F2B2-21C5-4074-BA28-735D9BA02091}"/>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sp>
        <p:nvSpPr>
          <p:cNvPr id="28" name="Cadre 27">
            <a:extLst>
              <a:ext uri="{FF2B5EF4-FFF2-40B4-BE49-F238E27FC236}">
                <a16:creationId xmlns:a16="http://schemas.microsoft.com/office/drawing/2014/main" id="{9BF4A03B-F37B-4965-80F6-0B709DC7EE3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6" name="Text Placeholder 5">
            <a:extLst>
              <a:ext uri="{FF2B5EF4-FFF2-40B4-BE49-F238E27FC236}">
                <a16:creationId xmlns:a16="http://schemas.microsoft.com/office/drawing/2014/main" id="{D2CE9F02-BCD7-4B24-924F-B7B1C07B7140}"/>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rgbClr val="2F469C"/>
                </a:solidFill>
              </a:defRPr>
            </a:lvl1pPr>
          </a:lstStyle>
          <a:p>
            <a:pPr lvl="0"/>
            <a:r>
              <a:rPr lang="en-GB" dirty="0"/>
              <a:t>Subtitle of the slide</a:t>
            </a:r>
          </a:p>
        </p:txBody>
      </p:sp>
    </p:spTree>
    <p:extLst>
      <p:ext uri="{BB962C8B-B14F-4D97-AF65-F5344CB8AC3E}">
        <p14:creationId xmlns:p14="http://schemas.microsoft.com/office/powerpoint/2010/main" val="284028294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3 columns with colored titles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2704707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85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B2E3F45E-E84E-4C33-9A96-378F378EB37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8AD0E370-DCF9-49CD-9EA7-8B8AC362457E}"/>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CEAFF2D8-1A9C-44B0-9198-6142941FCDB5}"/>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E3D7F208-6D50-442A-A3BA-61611E5E8672}"/>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E8F2F6B4-2140-44C5-A120-32F8342665FE}"/>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1CF7206F-481C-4380-B8D3-416C8CFAAA34}"/>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A48E232D-A901-4275-8D27-BF6BBBAB33F1}"/>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4"/>
                </a:solidFill>
              </a:defRPr>
            </a:lvl1pPr>
          </a:lstStyle>
          <a:p>
            <a:pPr lvl="0"/>
            <a:r>
              <a:rPr lang="en-GB" dirty="0"/>
              <a:t>Title</a:t>
            </a:r>
          </a:p>
        </p:txBody>
      </p:sp>
      <p:cxnSp>
        <p:nvCxnSpPr>
          <p:cNvPr id="28" name="Straight Connector 35">
            <a:extLst>
              <a:ext uri="{FF2B5EF4-FFF2-40B4-BE49-F238E27FC236}">
                <a16:creationId xmlns:a16="http://schemas.microsoft.com/office/drawing/2014/main" id="{24D521F1-2193-411F-B113-AC0566A258B2}"/>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39E588EC-DE9F-4E69-916F-F600E764120E}"/>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17776A7A-21BE-4E7C-926D-B32D9BB305B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9F4F281A-BD74-4612-89BC-D9281EBD4F9F}"/>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rgbClr val="2F469C"/>
                </a:solidFill>
              </a:defRPr>
            </a:lvl1pPr>
          </a:lstStyle>
          <a:p>
            <a:pPr lvl="0"/>
            <a:r>
              <a:rPr lang="en-GB" dirty="0"/>
              <a:t>Subtitle of the slide</a:t>
            </a:r>
          </a:p>
        </p:txBody>
      </p:sp>
    </p:spTree>
    <p:extLst>
      <p:ext uri="{BB962C8B-B14F-4D97-AF65-F5344CB8AC3E}">
        <p14:creationId xmlns:p14="http://schemas.microsoft.com/office/powerpoint/2010/main" val="72491587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 columns with colored titles [V2] with divider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154980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833"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74B90A9-86C7-4CA7-AC86-9B7C03D23119}"/>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Espace réservé du texte 15">
            <a:extLst>
              <a:ext uri="{FF2B5EF4-FFF2-40B4-BE49-F238E27FC236}">
                <a16:creationId xmlns:a16="http://schemas.microsoft.com/office/drawing/2014/main" id="{B3E82CFB-97D6-45D7-BADA-9AB9D04832F0}"/>
              </a:ext>
            </a:extLst>
          </p:cNvPr>
          <p:cNvSpPr>
            <a:spLocks noGrp="1"/>
          </p:cNvSpPr>
          <p:nvPr>
            <p:ph type="body" sz="quarter" idx="24" hasCustomPrompt="1"/>
          </p:nvPr>
        </p:nvSpPr>
        <p:spPr>
          <a:xfrm>
            <a:off x="396180" y="278548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2" name="Espace réservé du texte 15">
            <a:extLst>
              <a:ext uri="{FF2B5EF4-FFF2-40B4-BE49-F238E27FC236}">
                <a16:creationId xmlns:a16="http://schemas.microsoft.com/office/drawing/2014/main" id="{BFDAFBE7-77A0-416D-9494-5416435885C0}"/>
              </a:ext>
            </a:extLst>
          </p:cNvPr>
          <p:cNvSpPr>
            <a:spLocks noGrp="1"/>
          </p:cNvSpPr>
          <p:nvPr>
            <p:ph type="body" sz="quarter" idx="25" hasCustomPrompt="1"/>
          </p:nvPr>
        </p:nvSpPr>
        <p:spPr>
          <a:xfrm>
            <a:off x="4494645" y="278548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23" name="Espace réservé du texte 15">
            <a:extLst>
              <a:ext uri="{FF2B5EF4-FFF2-40B4-BE49-F238E27FC236}">
                <a16:creationId xmlns:a16="http://schemas.microsoft.com/office/drawing/2014/main" id="{44582077-3607-4624-94EF-42536719D7FF}"/>
              </a:ext>
            </a:extLst>
          </p:cNvPr>
          <p:cNvSpPr>
            <a:spLocks noGrp="1"/>
          </p:cNvSpPr>
          <p:nvPr>
            <p:ph type="body" sz="quarter" idx="26" hasCustomPrompt="1"/>
          </p:nvPr>
        </p:nvSpPr>
        <p:spPr>
          <a:xfrm>
            <a:off x="8593109" y="2785487"/>
            <a:ext cx="3195010" cy="1231106"/>
          </a:xfrm>
          <a:prstGeom prst="rect">
            <a:avLst/>
          </a:prstGeom>
        </p:spPr>
        <p:txBody>
          <a:bodyPr wrap="square" lIns="0" rIns="0">
            <a:spAutoFit/>
          </a:bodyPr>
          <a:lstStyle>
            <a:lvl1pPr>
              <a:defRPr sz="1600"/>
            </a:lvl1pPr>
            <a:lvl2pPr marL="447675" indent="-314325">
              <a:buFontTx/>
              <a:buBlip>
                <a:blip r:embed="rId9"/>
              </a:buBlip>
              <a:defRPr lang="en-GB" sz="1600" kern="1200" dirty="0">
                <a:solidFill>
                  <a:schemeClr val="tx1"/>
                </a:solidFill>
                <a:latin typeface="+mn-lt"/>
                <a:ea typeface="+mn-ea"/>
                <a:cs typeface="+mn-cs"/>
              </a:defRPr>
            </a:lvl2pPr>
            <a:lvl3pPr>
              <a:defRPr sz="1400"/>
            </a:lvl3pPr>
            <a:lvl4pPr>
              <a:defRPr sz="1600"/>
            </a:lvl4pPr>
            <a:lvl5pPr>
              <a:defRPr sz="1600"/>
            </a:lvl5pPr>
          </a:lstStyle>
          <a:p>
            <a:pPr lvl="0"/>
            <a:r>
              <a:rPr lang="en-GB" dirty="0"/>
              <a:t>Click to change the text styles on the slide master</a:t>
            </a:r>
          </a:p>
          <a:p>
            <a:pPr marL="447675" lvl="1" indent="-314325" algn="l" defTabSz="914400" rtl="0" eaLnBrk="1" latinLnBrk="0" hangingPunct="1">
              <a:lnSpc>
                <a:spcPct val="100000"/>
              </a:lnSpc>
              <a:spcBef>
                <a:spcPts val="600"/>
              </a:spcBef>
              <a:buSzPct val="80000"/>
              <a:buFontTx/>
              <a:buBlip>
                <a:blip r:embed="rId10"/>
              </a:buBlip>
            </a:pPr>
            <a:r>
              <a:rPr lang="en-GB" dirty="0"/>
              <a:t>Second level</a:t>
            </a:r>
          </a:p>
          <a:p>
            <a:pPr lvl="2"/>
            <a:r>
              <a:rPr lang="en-GB" dirty="0"/>
              <a:t>Third level</a:t>
            </a:r>
          </a:p>
        </p:txBody>
      </p:sp>
      <p:sp>
        <p:nvSpPr>
          <p:cNvPr id="25" name="Espace réservé du texte 4">
            <a:extLst>
              <a:ext uri="{FF2B5EF4-FFF2-40B4-BE49-F238E27FC236}">
                <a16:creationId xmlns:a16="http://schemas.microsoft.com/office/drawing/2014/main" id="{D0D64E5F-2B42-446B-9608-5610CA2AC369}"/>
              </a:ext>
            </a:extLst>
          </p:cNvPr>
          <p:cNvSpPr>
            <a:spLocks noGrp="1"/>
          </p:cNvSpPr>
          <p:nvPr>
            <p:ph type="body" sz="quarter" idx="27" hasCustomPrompt="1"/>
          </p:nvPr>
        </p:nvSpPr>
        <p:spPr>
          <a:xfrm>
            <a:off x="396548" y="1993899"/>
            <a:ext cx="3195009" cy="341633"/>
          </a:xfrm>
          <a:prstGeom prst="rect">
            <a:avLst/>
          </a:prstGeom>
          <a:noFill/>
        </p:spPr>
        <p:txBody>
          <a:bodyPr lIns="72000" rIns="0" anchor="t">
            <a:spAutoFit/>
          </a:bodyPr>
          <a:lstStyle>
            <a:lvl1pPr marL="0" indent="0" algn="l">
              <a:buNone/>
              <a:defRPr b="1" cap="all" baseline="0">
                <a:solidFill>
                  <a:schemeClr val="bg2"/>
                </a:solidFill>
              </a:defRPr>
            </a:lvl1pPr>
          </a:lstStyle>
          <a:p>
            <a:pPr lvl="0"/>
            <a:r>
              <a:rPr lang="en-GB" dirty="0"/>
              <a:t>Title</a:t>
            </a:r>
          </a:p>
        </p:txBody>
      </p:sp>
      <p:sp>
        <p:nvSpPr>
          <p:cNvPr id="26" name="Espace réservé du texte 4">
            <a:extLst>
              <a:ext uri="{FF2B5EF4-FFF2-40B4-BE49-F238E27FC236}">
                <a16:creationId xmlns:a16="http://schemas.microsoft.com/office/drawing/2014/main" id="{4FDFF29E-822C-437E-B6C9-C13E38631E2B}"/>
              </a:ext>
            </a:extLst>
          </p:cNvPr>
          <p:cNvSpPr>
            <a:spLocks noGrp="1"/>
          </p:cNvSpPr>
          <p:nvPr>
            <p:ph type="body" sz="quarter" idx="28" hasCustomPrompt="1"/>
          </p:nvPr>
        </p:nvSpPr>
        <p:spPr>
          <a:xfrm>
            <a:off x="4494829" y="1993899"/>
            <a:ext cx="3195009" cy="341633"/>
          </a:xfrm>
          <a:prstGeom prst="rect">
            <a:avLst/>
          </a:prstGeom>
          <a:noFill/>
        </p:spPr>
        <p:txBody>
          <a:bodyPr lIns="72000" rIns="0" anchor="t">
            <a:spAutoFit/>
          </a:bodyPr>
          <a:lstStyle>
            <a:lvl1pPr marL="0" indent="0" algn="l">
              <a:buNone/>
              <a:defRPr b="1" cap="all" baseline="0">
                <a:solidFill>
                  <a:schemeClr val="tx2"/>
                </a:solidFill>
              </a:defRPr>
            </a:lvl1pPr>
          </a:lstStyle>
          <a:p>
            <a:pPr lvl="0"/>
            <a:r>
              <a:rPr lang="en-GB"/>
              <a:t>Title</a:t>
            </a:r>
            <a:endParaRPr lang="en-GB" dirty="0"/>
          </a:p>
        </p:txBody>
      </p:sp>
      <p:sp>
        <p:nvSpPr>
          <p:cNvPr id="27" name="Espace réservé du texte 4">
            <a:extLst>
              <a:ext uri="{FF2B5EF4-FFF2-40B4-BE49-F238E27FC236}">
                <a16:creationId xmlns:a16="http://schemas.microsoft.com/office/drawing/2014/main" id="{99E1DAEB-5F78-44FD-A2AD-EF997D472DA3}"/>
              </a:ext>
            </a:extLst>
          </p:cNvPr>
          <p:cNvSpPr>
            <a:spLocks noGrp="1"/>
          </p:cNvSpPr>
          <p:nvPr>
            <p:ph type="body" sz="quarter" idx="29" hasCustomPrompt="1"/>
          </p:nvPr>
        </p:nvSpPr>
        <p:spPr>
          <a:xfrm>
            <a:off x="8593109" y="1993899"/>
            <a:ext cx="3195009" cy="338554"/>
          </a:xfrm>
          <a:prstGeom prst="rect">
            <a:avLst/>
          </a:prstGeom>
          <a:noFill/>
        </p:spPr>
        <p:txBody>
          <a:bodyPr lIns="72000" rIns="0" anchor="t">
            <a:spAutoFit/>
          </a:bodyPr>
          <a:lstStyle>
            <a:lvl1pPr marL="0" indent="0" algn="l">
              <a:buNone/>
              <a:defRPr b="1" cap="all" baseline="0">
                <a:solidFill>
                  <a:schemeClr val="accent3"/>
                </a:solidFill>
              </a:defRPr>
            </a:lvl1pPr>
          </a:lstStyle>
          <a:p>
            <a:pPr lvl="0"/>
            <a:r>
              <a:rPr lang="en-GB" dirty="0"/>
              <a:t>Title</a:t>
            </a:r>
          </a:p>
        </p:txBody>
      </p:sp>
      <p:cxnSp>
        <p:nvCxnSpPr>
          <p:cNvPr id="28" name="Straight Connector 35">
            <a:extLst>
              <a:ext uri="{FF2B5EF4-FFF2-40B4-BE49-F238E27FC236}">
                <a16:creationId xmlns:a16="http://schemas.microsoft.com/office/drawing/2014/main" id="{2C504288-9A20-4118-B47D-A6EBD7BD1D88}"/>
              </a:ext>
            </a:extLst>
          </p:cNvPr>
          <p:cNvCxnSpPr>
            <a:cxnSpLocks/>
          </p:cNvCxnSpPr>
          <p:nvPr userDrawn="1"/>
        </p:nvCxnSpPr>
        <p:spPr>
          <a:xfrm flipV="1">
            <a:off x="4042917"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29" name="Straight Connector 35">
            <a:extLst>
              <a:ext uri="{FF2B5EF4-FFF2-40B4-BE49-F238E27FC236}">
                <a16:creationId xmlns:a16="http://schemas.microsoft.com/office/drawing/2014/main" id="{EC5596AD-B23F-45D5-9FA4-416451B248FA}"/>
              </a:ext>
            </a:extLst>
          </p:cNvPr>
          <p:cNvCxnSpPr>
            <a:cxnSpLocks/>
          </p:cNvCxnSpPr>
          <p:nvPr userDrawn="1"/>
        </p:nvCxnSpPr>
        <p:spPr>
          <a:xfrm flipV="1">
            <a:off x="8141382"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30" name="Cadre 29">
            <a:extLst>
              <a:ext uri="{FF2B5EF4-FFF2-40B4-BE49-F238E27FC236}">
                <a16:creationId xmlns:a16="http://schemas.microsoft.com/office/drawing/2014/main" id="{A6BA8172-CD31-447B-879F-F7CC9AAA8828}"/>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17" name="Text Placeholder 5">
            <a:extLst>
              <a:ext uri="{FF2B5EF4-FFF2-40B4-BE49-F238E27FC236}">
                <a16:creationId xmlns:a16="http://schemas.microsoft.com/office/drawing/2014/main" id="{E5B0CA00-40D4-4B05-A9FA-A23D2489FFC8}"/>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rgbClr val="2F469C"/>
                </a:solidFill>
              </a:defRPr>
            </a:lvl1pPr>
          </a:lstStyle>
          <a:p>
            <a:pPr lvl="0"/>
            <a:r>
              <a:rPr lang="en-GB" dirty="0"/>
              <a:t>Subtitle of the slide</a:t>
            </a:r>
          </a:p>
        </p:txBody>
      </p:sp>
    </p:spTree>
    <p:extLst>
      <p:ext uri="{BB962C8B-B14F-4D97-AF65-F5344CB8AC3E}">
        <p14:creationId xmlns:p14="http://schemas.microsoft.com/office/powerpoint/2010/main" val="41622115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32449924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3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prstGeom prst="rect">
            <a:avLst/>
          </a:prstGeo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prstGeom prst="rect">
            <a:avLst/>
          </a:prstGeo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a:prstGeom prst="rect">
            <a:avLst/>
          </a:prstGeom>
        </p:spPr>
        <p:txBody>
          <a:bodyPr lIns="0" rIns="0">
            <a:spAutoFit/>
          </a:bodyPr>
          <a:lstStyle>
            <a:lvl1pPr>
              <a:defRPr sz="1600"/>
            </a:lvl1pPr>
            <a:lvl2pPr marL="447675" indent="-314325">
              <a:buFontTx/>
              <a:buBlip>
                <a:blip r:embed="rId10"/>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3340DE3B-4ADD-48BE-BCE6-7FE7A7786336}"/>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id="{E91004BA-7343-436F-9F59-E70C2655FD16}"/>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1" name="Text Placeholder 5">
            <a:extLst>
              <a:ext uri="{FF2B5EF4-FFF2-40B4-BE49-F238E27FC236}">
                <a16:creationId xmlns:a16="http://schemas.microsoft.com/office/drawing/2014/main" id="{F02206C2-89D7-4BB1-ACD3-6DD6F02F986E}"/>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rgbClr val="2F469C"/>
                </a:solidFill>
              </a:defRPr>
            </a:lvl1pPr>
          </a:lstStyle>
          <a:p>
            <a:pPr lvl="0"/>
            <a:r>
              <a:rPr lang="en-GB" dirty="0"/>
              <a:t>Subtitle of the slide</a:t>
            </a:r>
          </a:p>
        </p:txBody>
      </p:sp>
    </p:spTree>
    <p:extLst>
      <p:ext uri="{BB962C8B-B14F-4D97-AF65-F5344CB8AC3E}">
        <p14:creationId xmlns:p14="http://schemas.microsoft.com/office/powerpoint/2010/main" val="208921302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1679787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02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5" name="Espace réservé du texte 4">
            <a:extLst>
              <a:ext uri="{FF2B5EF4-FFF2-40B4-BE49-F238E27FC236}">
                <a16:creationId xmlns:a16="http://schemas.microsoft.com/office/drawing/2014/main" id="{F29F32CF-ADE9-4D3D-9458-4DBEF9BE018B}"/>
              </a:ext>
            </a:extLst>
          </p:cNvPr>
          <p:cNvSpPr>
            <a:spLocks noGrp="1"/>
          </p:cNvSpPr>
          <p:nvPr>
            <p:ph type="body" sz="quarter" idx="20" hasCustomPrompt="1"/>
          </p:nvPr>
        </p:nvSpPr>
        <p:spPr>
          <a:xfrm>
            <a:off x="486256" y="1993900"/>
            <a:ext cx="2378846"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3" name="Espace réservé du texte 4">
            <a:extLst>
              <a:ext uri="{FF2B5EF4-FFF2-40B4-BE49-F238E27FC236}">
                <a16:creationId xmlns:a16="http://schemas.microsoft.com/office/drawing/2014/main" id="{8F949CB4-ADF1-411D-B5B0-474DDF2975F4}"/>
              </a:ext>
            </a:extLst>
          </p:cNvPr>
          <p:cNvSpPr>
            <a:spLocks noGrp="1"/>
          </p:cNvSpPr>
          <p:nvPr>
            <p:ph type="body" sz="quarter" idx="21" hasCustomPrompt="1"/>
          </p:nvPr>
        </p:nvSpPr>
        <p:spPr>
          <a:xfrm>
            <a:off x="3401232" y="1993900"/>
            <a:ext cx="2378846"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14" name="Espace réservé du texte 4">
            <a:extLst>
              <a:ext uri="{FF2B5EF4-FFF2-40B4-BE49-F238E27FC236}">
                <a16:creationId xmlns:a16="http://schemas.microsoft.com/office/drawing/2014/main" id="{F575F9CB-6641-4AA5-BBBF-DCB5E35A79B3}"/>
              </a:ext>
            </a:extLst>
          </p:cNvPr>
          <p:cNvSpPr>
            <a:spLocks noGrp="1"/>
          </p:cNvSpPr>
          <p:nvPr>
            <p:ph type="body" sz="quarter" idx="22" hasCustomPrompt="1"/>
          </p:nvPr>
        </p:nvSpPr>
        <p:spPr>
          <a:xfrm>
            <a:off x="6316208" y="1993900"/>
            <a:ext cx="2378846" cy="369332"/>
          </a:xfrm>
          <a:prstGeom prst="rect">
            <a:avLst/>
          </a:prstGeo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5" name="Espace réservé du texte 4">
            <a:extLst>
              <a:ext uri="{FF2B5EF4-FFF2-40B4-BE49-F238E27FC236}">
                <a16:creationId xmlns:a16="http://schemas.microsoft.com/office/drawing/2014/main" id="{673ECD5B-058F-460C-B800-3658FC97D202}"/>
              </a:ext>
            </a:extLst>
          </p:cNvPr>
          <p:cNvSpPr>
            <a:spLocks noGrp="1"/>
          </p:cNvSpPr>
          <p:nvPr>
            <p:ph type="body" sz="quarter" idx="23" hasCustomPrompt="1"/>
          </p:nvPr>
        </p:nvSpPr>
        <p:spPr>
          <a:xfrm>
            <a:off x="9231183" y="1993900"/>
            <a:ext cx="2378846" cy="369332"/>
          </a:xfrm>
          <a:prstGeom prst="rect">
            <a:avLst/>
          </a:prstGeom>
          <a:solidFill>
            <a:schemeClr val="accent1"/>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887" y="2634117"/>
            <a:ext cx="2378847" cy="1477328"/>
          </a:xfrm>
          <a:prstGeom prst="rect">
            <a:avLst/>
          </a:prstGeom>
        </p:spPr>
        <p:txBody>
          <a:bodyPr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3400985" y="2634117"/>
            <a:ext cx="2378847" cy="1477328"/>
          </a:xfrm>
          <a:prstGeom prst="rect">
            <a:avLst/>
          </a:prstGeom>
        </p:spPr>
        <p:txBody>
          <a:bodyPr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6316083" y="2634117"/>
            <a:ext cx="2378847" cy="1477328"/>
          </a:xfrm>
          <a:prstGeom prst="rect">
            <a:avLst/>
          </a:prstGeom>
        </p:spPr>
        <p:txBody>
          <a:bodyPr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15">
            <a:extLst>
              <a:ext uri="{FF2B5EF4-FFF2-40B4-BE49-F238E27FC236}">
                <a16:creationId xmlns:a16="http://schemas.microsoft.com/office/drawing/2014/main" id="{BB3AB300-BC70-4E89-90E0-8D61F56FBB2D}"/>
              </a:ext>
            </a:extLst>
          </p:cNvPr>
          <p:cNvSpPr>
            <a:spLocks noGrp="1"/>
          </p:cNvSpPr>
          <p:nvPr>
            <p:ph type="body" sz="quarter" idx="27" hasCustomPrompt="1"/>
          </p:nvPr>
        </p:nvSpPr>
        <p:spPr>
          <a:xfrm>
            <a:off x="9231182" y="2634117"/>
            <a:ext cx="2378847" cy="1477328"/>
          </a:xfrm>
          <a:prstGeom prst="rect">
            <a:avLst/>
          </a:prstGeom>
        </p:spPr>
        <p:txBody>
          <a:bodyPr lIns="0" rIns="0">
            <a:spAutoFit/>
          </a:bodyPr>
          <a:lstStyle>
            <a:lvl1pPr>
              <a:defRPr sz="1600"/>
            </a:lvl1pPr>
            <a:lvl2pPr marL="447675" indent="-314325">
              <a:buFontTx/>
              <a:buBlip>
                <a:blip r:embed="rId10"/>
              </a:buBlip>
              <a:defRPr sz="1600"/>
            </a:lvl2pPr>
            <a:lvl3pPr>
              <a:defRPr sz="1400"/>
            </a:lvl3pPr>
            <a:lvl4pPr marL="758825" indent="0">
              <a:buNone/>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4" name="Titre 3">
            <a:extLst>
              <a:ext uri="{FF2B5EF4-FFF2-40B4-BE49-F238E27FC236}">
                <a16:creationId xmlns:a16="http://schemas.microsoft.com/office/drawing/2014/main" id="{0DC641C9-B54A-4E65-BAB2-93108534F4F0}"/>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20" name="Text Placeholder 8">
            <a:extLst>
              <a:ext uri="{FF2B5EF4-FFF2-40B4-BE49-F238E27FC236}">
                <a16:creationId xmlns:a16="http://schemas.microsoft.com/office/drawing/2014/main" id="{ED3FC135-82C8-4A96-888D-AB8CE8961301}"/>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22" name="Cadre 21">
            <a:extLst>
              <a:ext uri="{FF2B5EF4-FFF2-40B4-BE49-F238E27FC236}">
                <a16:creationId xmlns:a16="http://schemas.microsoft.com/office/drawing/2014/main" id="{DCCEC75F-BBD9-499D-9268-3D89E7E6B8F7}"/>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1" name="Text Placeholder 5">
            <a:extLst>
              <a:ext uri="{FF2B5EF4-FFF2-40B4-BE49-F238E27FC236}">
                <a16:creationId xmlns:a16="http://schemas.microsoft.com/office/drawing/2014/main" id="{CA573106-FD8F-40EB-9CBA-13741FBF8C5D}"/>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rgbClr val="2F469C"/>
                </a:solidFill>
              </a:defRPr>
            </a:lvl1pPr>
          </a:lstStyle>
          <a:p>
            <a:pPr lvl="0"/>
            <a:r>
              <a:rPr lang="en-GB" dirty="0"/>
              <a:t>Subtitle of the slide</a:t>
            </a:r>
          </a:p>
        </p:txBody>
      </p:sp>
    </p:spTree>
    <p:extLst>
      <p:ext uri="{BB962C8B-B14F-4D97-AF65-F5344CB8AC3E}">
        <p14:creationId xmlns:p14="http://schemas.microsoft.com/office/powerpoint/2010/main" val="216081712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3608516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95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a:prstGeom prst="rect">
            <a:avLst/>
          </a:prstGeom>
        </p:spPr>
        <p:txBody>
          <a:bodyPr wrap="square"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prstGeom prst="rect">
            <a:avLst/>
          </a:prstGeom>
          <a:solidFill>
            <a:schemeClr val="accent4"/>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DF5ACA36-D848-4F29-92F9-47321029F315}"/>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CC159F0E-5DEA-49B1-9A35-F946E07E024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3" name="Text Placeholder 5">
            <a:extLst>
              <a:ext uri="{FF2B5EF4-FFF2-40B4-BE49-F238E27FC236}">
                <a16:creationId xmlns:a16="http://schemas.microsoft.com/office/drawing/2014/main" id="{E489DA2F-37AC-44E4-9FC7-BB6534078476}"/>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rgbClr val="2F469C"/>
                </a:solidFill>
              </a:defRPr>
            </a:lvl1pPr>
          </a:lstStyle>
          <a:p>
            <a:pPr lvl="0"/>
            <a:r>
              <a:rPr lang="en-GB" dirty="0"/>
              <a:t>Subtitle of the slide</a:t>
            </a:r>
          </a:p>
        </p:txBody>
      </p:sp>
    </p:spTree>
    <p:extLst>
      <p:ext uri="{BB962C8B-B14F-4D97-AF65-F5344CB8AC3E}">
        <p14:creationId xmlns:p14="http://schemas.microsoft.com/office/powerpoint/2010/main" val="2204391017"/>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 columns with colored box titles [V2]">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4172591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049"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6" name="Espace réservé du texte 15">
            <a:extLst>
              <a:ext uri="{FF2B5EF4-FFF2-40B4-BE49-F238E27FC236}">
                <a16:creationId xmlns:a16="http://schemas.microsoft.com/office/drawing/2014/main" id="{2D19A821-9323-436D-9BBA-EF55905E3049}"/>
              </a:ext>
            </a:extLst>
          </p:cNvPr>
          <p:cNvSpPr>
            <a:spLocks noGrp="1"/>
          </p:cNvSpPr>
          <p:nvPr>
            <p:ph type="body" sz="quarter" idx="24" hasCustomPrompt="1"/>
          </p:nvPr>
        </p:nvSpPr>
        <p:spPr>
          <a:xfrm>
            <a:off x="485775" y="2634117"/>
            <a:ext cx="3195010" cy="1231106"/>
          </a:xfrm>
          <a:prstGeom prst="rect">
            <a:avLst/>
          </a:prstGeom>
        </p:spPr>
        <p:txBody>
          <a:bodyPr wrap="square" lIns="0" rIns="0">
            <a:spAutoFit/>
          </a:bodyPr>
          <a:lstStyle>
            <a:lvl1pPr>
              <a:defRPr sz="1600"/>
            </a:lvl1pPr>
            <a:lvl2pPr marL="447675" indent="-314325">
              <a:buFontTx/>
              <a:buBlip>
                <a:blip r:embed="rId7"/>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7" name="Espace réservé du texte 15">
            <a:extLst>
              <a:ext uri="{FF2B5EF4-FFF2-40B4-BE49-F238E27FC236}">
                <a16:creationId xmlns:a16="http://schemas.microsoft.com/office/drawing/2014/main" id="{8F509378-7F96-4CC3-B445-AFDF4E8F71BC}"/>
              </a:ext>
            </a:extLst>
          </p:cNvPr>
          <p:cNvSpPr>
            <a:spLocks noGrp="1"/>
          </p:cNvSpPr>
          <p:nvPr>
            <p:ph type="body" sz="quarter" idx="25" hasCustomPrompt="1"/>
          </p:nvPr>
        </p:nvSpPr>
        <p:spPr>
          <a:xfrm>
            <a:off x="4450146" y="2634117"/>
            <a:ext cx="3195010" cy="1231106"/>
          </a:xfrm>
          <a:prstGeom prst="rect">
            <a:avLst/>
          </a:prstGeom>
        </p:spPr>
        <p:txBody>
          <a:bodyPr wrap="square" lIns="0" rIns="0">
            <a:spAutoFit/>
          </a:bodyPr>
          <a:lstStyle>
            <a:lvl1pPr>
              <a:defRPr sz="1600"/>
            </a:lvl1pPr>
            <a:lvl2pPr marL="447675" indent="-314325">
              <a:buFontTx/>
              <a:buBlip>
                <a:blip r:embed="rId8"/>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8" name="Espace réservé du texte 15">
            <a:extLst>
              <a:ext uri="{FF2B5EF4-FFF2-40B4-BE49-F238E27FC236}">
                <a16:creationId xmlns:a16="http://schemas.microsoft.com/office/drawing/2014/main" id="{FE25E091-C850-4A35-8C6B-48D1A63C1D4F}"/>
              </a:ext>
            </a:extLst>
          </p:cNvPr>
          <p:cNvSpPr>
            <a:spLocks noGrp="1"/>
          </p:cNvSpPr>
          <p:nvPr>
            <p:ph type="body" sz="quarter" idx="26" hasCustomPrompt="1"/>
          </p:nvPr>
        </p:nvSpPr>
        <p:spPr>
          <a:xfrm>
            <a:off x="8417062" y="2634117"/>
            <a:ext cx="3195010" cy="1231106"/>
          </a:xfrm>
          <a:prstGeom prst="rect">
            <a:avLst/>
          </a:prstGeom>
        </p:spPr>
        <p:txBody>
          <a:bodyPr wrap="square" lIns="0" rIns="0">
            <a:spAutoFit/>
          </a:bodyPr>
          <a:lstStyle>
            <a:lvl1pPr>
              <a:defRPr sz="1600"/>
            </a:lvl1pPr>
            <a:lvl2pPr marL="447675" indent="-314325">
              <a:buFontTx/>
              <a:buBlip>
                <a:blip r:embed="rId9"/>
              </a:buBlip>
              <a:defRPr sz="1600"/>
            </a:lvl2pPr>
            <a:lvl3pPr>
              <a:defRPr sz="1400"/>
            </a:lvl3pPr>
            <a:lvl4pPr>
              <a:defRPr sz="1600"/>
            </a:lvl4pPr>
            <a:lvl5pPr>
              <a:defRPr sz="1600"/>
            </a:lvl5pPr>
          </a:lstStyle>
          <a:p>
            <a:pPr lvl="0"/>
            <a:r>
              <a:rPr lang="en-GB" dirty="0"/>
              <a:t>Click to change the text styles on the slide master</a:t>
            </a:r>
          </a:p>
          <a:p>
            <a:pPr lvl="1"/>
            <a:r>
              <a:rPr lang="en-GB" dirty="0"/>
              <a:t>Second level</a:t>
            </a:r>
          </a:p>
          <a:p>
            <a:pPr lvl="2"/>
            <a:r>
              <a:rPr lang="en-GB" dirty="0"/>
              <a:t>Third level</a:t>
            </a:r>
          </a:p>
        </p:txBody>
      </p:sp>
      <p:sp>
        <p:nvSpPr>
          <p:cNvPr id="19" name="Espace réservé du texte 4">
            <a:extLst>
              <a:ext uri="{FF2B5EF4-FFF2-40B4-BE49-F238E27FC236}">
                <a16:creationId xmlns:a16="http://schemas.microsoft.com/office/drawing/2014/main" id="{8F53EFDF-586B-4B52-A77B-E7663334D337}"/>
              </a:ext>
            </a:extLst>
          </p:cNvPr>
          <p:cNvSpPr>
            <a:spLocks noGrp="1"/>
          </p:cNvSpPr>
          <p:nvPr>
            <p:ph type="body" sz="quarter" idx="27" hasCustomPrompt="1"/>
          </p:nvPr>
        </p:nvSpPr>
        <p:spPr>
          <a:xfrm>
            <a:off x="486143" y="1993899"/>
            <a:ext cx="3195009" cy="369332"/>
          </a:xfrm>
          <a:prstGeom prst="rect">
            <a:avLst/>
          </a:prstGeom>
          <a:solidFill>
            <a:schemeClr val="bg2"/>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20" name="Espace réservé du texte 4">
            <a:extLst>
              <a:ext uri="{FF2B5EF4-FFF2-40B4-BE49-F238E27FC236}">
                <a16:creationId xmlns:a16="http://schemas.microsoft.com/office/drawing/2014/main" id="{C9BF9C92-4CA0-4CDA-A4F8-082D2B2EF99F}"/>
              </a:ext>
            </a:extLst>
          </p:cNvPr>
          <p:cNvSpPr>
            <a:spLocks noGrp="1"/>
          </p:cNvSpPr>
          <p:nvPr>
            <p:ph type="body" sz="quarter" idx="28" hasCustomPrompt="1"/>
          </p:nvPr>
        </p:nvSpPr>
        <p:spPr>
          <a:xfrm>
            <a:off x="4450330" y="1993899"/>
            <a:ext cx="3195009" cy="369332"/>
          </a:xfrm>
          <a:prstGeom prst="rect">
            <a:avLst/>
          </a:prstGeom>
          <a:solidFill>
            <a:schemeClr val="tx2"/>
          </a:solidFill>
        </p:spPr>
        <p:txBody>
          <a:bodyPr lIns="0" rIns="0" anchor="t">
            <a:spAutoFit/>
          </a:bodyPr>
          <a:lstStyle>
            <a:lvl1pPr marL="0" indent="0" algn="ctr">
              <a:buNone/>
              <a:defRPr b="1" cap="all" baseline="0">
                <a:solidFill>
                  <a:schemeClr val="bg1"/>
                </a:solidFill>
              </a:defRPr>
            </a:lvl1pPr>
          </a:lstStyle>
          <a:p>
            <a:pPr lvl="0"/>
            <a:r>
              <a:rPr lang="en-GB"/>
              <a:t>Title</a:t>
            </a:r>
            <a:endParaRPr lang="en-GB" dirty="0"/>
          </a:p>
        </p:txBody>
      </p:sp>
      <p:sp>
        <p:nvSpPr>
          <p:cNvPr id="21" name="Espace réservé du texte 4">
            <a:extLst>
              <a:ext uri="{FF2B5EF4-FFF2-40B4-BE49-F238E27FC236}">
                <a16:creationId xmlns:a16="http://schemas.microsoft.com/office/drawing/2014/main" id="{681CE642-3E81-4565-8966-09C10814A63E}"/>
              </a:ext>
            </a:extLst>
          </p:cNvPr>
          <p:cNvSpPr>
            <a:spLocks noGrp="1"/>
          </p:cNvSpPr>
          <p:nvPr>
            <p:ph type="body" sz="quarter" idx="29" hasCustomPrompt="1"/>
          </p:nvPr>
        </p:nvSpPr>
        <p:spPr>
          <a:xfrm>
            <a:off x="8417062" y="1993899"/>
            <a:ext cx="3195009" cy="369332"/>
          </a:xfrm>
          <a:prstGeom prst="rect">
            <a:avLst/>
          </a:prstGeom>
          <a:solidFill>
            <a:schemeClr val="accent3"/>
          </a:solidFill>
        </p:spPr>
        <p:txBody>
          <a:bodyPr lIns="0" rIns="0" anchor="t">
            <a:spAutoFit/>
          </a:bodyPr>
          <a:lstStyle>
            <a:lvl1pPr marL="0" indent="0" algn="ctr">
              <a:buNone/>
              <a:defRPr b="1" cap="all" baseline="0">
                <a:solidFill>
                  <a:schemeClr val="bg1"/>
                </a:solidFill>
              </a:defRPr>
            </a:lvl1pPr>
          </a:lstStyle>
          <a:p>
            <a:pPr lvl="0"/>
            <a:r>
              <a:rPr lang="en-GB" dirty="0"/>
              <a:t>Title</a:t>
            </a:r>
          </a:p>
        </p:txBody>
      </p:sp>
      <p:sp>
        <p:nvSpPr>
          <p:cNvPr id="4" name="Titre 3">
            <a:extLst>
              <a:ext uri="{FF2B5EF4-FFF2-40B4-BE49-F238E27FC236}">
                <a16:creationId xmlns:a16="http://schemas.microsoft.com/office/drawing/2014/main" id="{286C96D8-5D31-4787-ADE2-CBD1DEDCC02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4" name="Text Placeholder 8">
            <a:extLst>
              <a:ext uri="{FF2B5EF4-FFF2-40B4-BE49-F238E27FC236}">
                <a16:creationId xmlns:a16="http://schemas.microsoft.com/office/drawing/2014/main" id="{C8E6DE7D-0FB2-4B25-A7F7-95C4D06B9322}"/>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17FC6A8B-1DAF-41A9-8654-1DA19B158FA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
        <p:nvSpPr>
          <p:cNvPr id="23" name="Text Placeholder 5">
            <a:extLst>
              <a:ext uri="{FF2B5EF4-FFF2-40B4-BE49-F238E27FC236}">
                <a16:creationId xmlns:a16="http://schemas.microsoft.com/office/drawing/2014/main" id="{42C34B12-7FFB-4675-97AD-ADA54ECBE709}"/>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rgbClr val="2F469C"/>
                </a:solidFill>
              </a:defRPr>
            </a:lvl1pPr>
          </a:lstStyle>
          <a:p>
            <a:pPr lvl="0"/>
            <a:r>
              <a:rPr lang="en-GB" dirty="0"/>
              <a:t>Subtitle of the slide</a:t>
            </a:r>
          </a:p>
        </p:txBody>
      </p:sp>
    </p:spTree>
    <p:extLst>
      <p:ext uri="{BB962C8B-B14F-4D97-AF65-F5344CB8AC3E}">
        <p14:creationId xmlns:p14="http://schemas.microsoft.com/office/powerpoint/2010/main" val="17307403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guide id="7" pos="306">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_dark blue bg">
    <p:bg>
      <p:bgPr>
        <a:solidFill>
          <a:schemeClr val="accent1"/>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3906302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328"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4" name="Titre 3">
            <a:extLst>
              <a:ext uri="{FF2B5EF4-FFF2-40B4-BE49-F238E27FC236}">
                <a16:creationId xmlns:a16="http://schemas.microsoft.com/office/drawing/2014/main" id="{20156DF7-56BC-40D5-8DA8-2F22C6D867BD}"/>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4" name="Espace réservé du numéro de diapositive 2">
            <a:extLst>
              <a:ext uri="{FF2B5EF4-FFF2-40B4-BE49-F238E27FC236}">
                <a16:creationId xmlns:a16="http://schemas.microsoft.com/office/drawing/2014/main" id="{050AD626-E7A4-427F-9A3F-B6A6BA21F6B3}"/>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5" name="Espace réservé du pied de page 4">
            <a:extLst>
              <a:ext uri="{FF2B5EF4-FFF2-40B4-BE49-F238E27FC236}">
                <a16:creationId xmlns:a16="http://schemas.microsoft.com/office/drawing/2014/main" id="{A9AA2E6C-EBCE-4B97-AB00-23968A3265E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317C93FA-7D2C-4658-80E0-B891EA08A0CE}"/>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0" name="Text Placeholder 5">
            <a:extLst>
              <a:ext uri="{FF2B5EF4-FFF2-40B4-BE49-F238E27FC236}">
                <a16:creationId xmlns:a16="http://schemas.microsoft.com/office/drawing/2014/main" id="{45D7D27C-78A9-42B0-BF87-F097DEF202C2}"/>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chemeClr val="bg1"/>
                </a:solidFill>
              </a:defRPr>
            </a:lvl1pPr>
          </a:lstStyle>
          <a:p>
            <a:pPr lvl="0"/>
            <a:r>
              <a:rPr lang="en-GB" dirty="0"/>
              <a:t>Subtitle of the slide</a:t>
            </a:r>
          </a:p>
        </p:txBody>
      </p:sp>
    </p:spTree>
    <p:extLst>
      <p:ext uri="{BB962C8B-B14F-4D97-AF65-F5344CB8AC3E}">
        <p14:creationId xmlns:p14="http://schemas.microsoft.com/office/powerpoint/2010/main" val="2007529917"/>
      </p:ext>
    </p:extLst>
  </p:cSld>
  <p:clrMapOvr>
    <a:masterClrMapping/>
  </p:clrMapOvr>
  <p:extLst>
    <p:ext uri="{DCECCB84-F9BA-43D5-87BE-67443E8EF086}">
      <p15:sldGuideLst xmlns:p15="http://schemas.microsoft.com/office/powerpoint/2012/main">
        <p15:guide id="1" pos="247">
          <p15:clr>
            <a:srgbClr val="F26B43"/>
          </p15:clr>
        </p15:guide>
        <p15:guide id="2" pos="7423" userDrawn="1">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guide id="7" pos="306" userDrawn="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Verbatim green">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4212604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319"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grpSp>
        <p:nvGrpSpPr>
          <p:cNvPr id="18" name="Group 10">
            <a:extLst>
              <a:ext uri="{FF2B5EF4-FFF2-40B4-BE49-F238E27FC236}">
                <a16:creationId xmlns:a16="http://schemas.microsoft.com/office/drawing/2014/main" id="{37034E82-C110-4AF1-81C9-1B2FF8608B01}"/>
              </a:ext>
            </a:extLst>
          </p:cNvPr>
          <p:cNvGrpSpPr>
            <a:grpSpLocks/>
          </p:cNvGrpSpPr>
          <p:nvPr userDrawn="1"/>
        </p:nvGrpSpPr>
        <p:grpSpPr bwMode="auto">
          <a:xfrm rot="10800000" flipH="1">
            <a:off x="701006" y="1494906"/>
            <a:ext cx="1299066" cy="1063368"/>
            <a:chOff x="1033" y="1117"/>
            <a:chExt cx="1907" cy="1561"/>
          </a:xfrm>
          <a:solidFill>
            <a:schemeClr val="tx2"/>
          </a:solidFill>
        </p:grpSpPr>
        <p:sp>
          <p:nvSpPr>
            <p:cNvPr id="19" name="Freeform 11">
              <a:extLst>
                <a:ext uri="{FF2B5EF4-FFF2-40B4-BE49-F238E27FC236}">
                  <a16:creationId xmlns:a16="http://schemas.microsoft.com/office/drawing/2014/main" id="{BD7A13DF-71B0-4DF3-9670-ECE323231743}"/>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0" name="Freeform 12">
              <a:extLst>
                <a:ext uri="{FF2B5EF4-FFF2-40B4-BE49-F238E27FC236}">
                  <a16:creationId xmlns:a16="http://schemas.microsoft.com/office/drawing/2014/main" id="{C79DC92B-9CE8-407F-B93F-CA5ACD8F2E8D}"/>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a:prstGeom prst="rect">
            <a:avLst/>
          </a:prstGeom>
        </p:spPr>
        <p:txBody>
          <a:bodyPr anchor="b">
            <a:spAutoFit/>
          </a:bodyPr>
          <a:lstStyle>
            <a:lvl1pPr marL="0" indent="0" algn="r">
              <a:buNone/>
              <a:defRPr sz="1600" b="1">
                <a:solidFill>
                  <a:schemeClr val="tx1"/>
                </a:solidFill>
              </a:defRPr>
            </a:lvl1pPr>
          </a:lstStyle>
          <a:p>
            <a:pPr lvl="0"/>
            <a:r>
              <a:rPr lang="en-GB" dirty="0"/>
              <a:t>Name, Position</a:t>
            </a:r>
          </a:p>
        </p:txBody>
      </p:sp>
      <p:sp>
        <p:nvSpPr>
          <p:cNvPr id="4" name="Titre 3">
            <a:extLst>
              <a:ext uri="{FF2B5EF4-FFF2-40B4-BE49-F238E27FC236}">
                <a16:creationId xmlns:a16="http://schemas.microsoft.com/office/drawing/2014/main" id="{D69A5C51-135A-4539-8A83-F2DE50C1572C}"/>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Cadre 10">
            <a:extLst>
              <a:ext uri="{FF2B5EF4-FFF2-40B4-BE49-F238E27FC236}">
                <a16:creationId xmlns:a16="http://schemas.microsoft.com/office/drawing/2014/main" id="{BF7A0D0E-8184-4BA8-BEDC-8D6B253B3340}"/>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79193104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710946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582"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9436100" cy="338554"/>
          </a:xfrm>
          <a:prstGeom prst="rect">
            <a:avLst/>
          </a:prstGeom>
        </p:spPr>
        <p:txBody>
          <a:bodyPr anchor="b">
            <a:spAutoFit/>
          </a:bodyPr>
          <a:lstStyle>
            <a:lvl1pPr marL="0" indent="0" algn="r">
              <a:buNone/>
              <a:defRPr sz="1600" b="1">
                <a:solidFill>
                  <a:schemeClr val="tx1"/>
                </a:solidFill>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userDrawn="1"/>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1" name="Cadre 10">
            <a:extLst>
              <a:ext uri="{FF2B5EF4-FFF2-40B4-BE49-F238E27FC236}">
                <a16:creationId xmlns:a16="http://schemas.microsoft.com/office/drawing/2014/main" id="{95FA30DA-C1C6-46AC-9495-9AC59758C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04644351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_2">
    <p:bg>
      <p:bgPr>
        <a:solidFill>
          <a:schemeClr val="bg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56B4929C-8011-4179-8CDE-3FB8CD201206}"/>
              </a:ext>
            </a:extLst>
          </p:cNvPr>
          <p:cNvGraphicFramePr>
            <a:graphicFrameLocks noChangeAspect="1"/>
          </p:cNvGraphicFramePr>
          <p:nvPr userDrawn="1">
            <p:custDataLst>
              <p:tags r:id="rId2"/>
            </p:custDataLst>
            <p:extLst>
              <p:ext uri="{D42A27DB-BD31-4B8C-83A1-F6EECF244321}">
                <p14:modId xmlns:p14="http://schemas.microsoft.com/office/powerpoint/2010/main" val="3060752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05" name="Diapositive think-cell" r:id="rId5" imgW="532" imgH="530" progId="TCLayout.ActiveDocument.1">
                  <p:embed/>
                </p:oleObj>
              </mc:Choice>
              <mc:Fallback>
                <p:oleObj name="Diapositive think-cell" r:id="rId5" imgW="532" imgH="53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70C4FA2-C5EC-49E1-8C35-04867997158C}"/>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3" name="Espace réservé du texte 2">
            <a:extLst>
              <a:ext uri="{FF2B5EF4-FFF2-40B4-BE49-F238E27FC236}">
                <a16:creationId xmlns:a16="http://schemas.microsoft.com/office/drawing/2014/main" id="{35825EF1-A063-4BA8-A114-9FEFB36C88BB}"/>
              </a:ext>
            </a:extLst>
          </p:cNvPr>
          <p:cNvSpPr>
            <a:spLocks noGrp="1"/>
          </p:cNvSpPr>
          <p:nvPr>
            <p:ph type="body" idx="1" hasCustomPrompt="1"/>
          </p:nvPr>
        </p:nvSpPr>
        <p:spPr>
          <a:xfrm>
            <a:off x="459207" y="2816932"/>
            <a:ext cx="7551996" cy="461665"/>
          </a:xfrm>
          <a:prstGeom prst="rect">
            <a:avLst/>
          </a:prstGeom>
        </p:spPr>
        <p:txBody>
          <a:bodyPr lIns="108000" rIns="180000">
            <a:spAutoFit/>
          </a:bodyPr>
          <a:lstStyle>
            <a:lvl1pPr marL="0" indent="0">
              <a:buNone/>
              <a:defRPr sz="2400" b="1">
                <a:solidFill>
                  <a:schemeClr val="bg2"/>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12" name="Text Placeholder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blipFill>
                  <a:blip r:embed="rId7"/>
                  <a:stretch>
                    <a:fillRect/>
                  </a:stretch>
                </a:blipFill>
              </a:defRPr>
            </a:lvl1pPr>
          </a:lstStyle>
          <a:p>
            <a:pPr lvl="0"/>
            <a:r>
              <a:rPr lang="en-GB" dirty="0"/>
              <a:t>0</a:t>
            </a:r>
          </a:p>
        </p:txBody>
      </p:sp>
      <p:sp>
        <p:nvSpPr>
          <p:cNvPr id="11" name="Title 1">
            <a:extLst>
              <a:ext uri="{FF2B5EF4-FFF2-40B4-BE49-F238E27FC236}">
                <a16:creationId xmlns:a16="http://schemas.microsoft.com/office/drawing/2014/main" id="{6C15C0FE-1109-48F3-B89A-6248AC1CCB74}"/>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2"/>
                </a:solidFill>
                <a:latin typeface="+mj-lt"/>
              </a:defRPr>
            </a:lvl1pPr>
          </a:lstStyle>
          <a:p>
            <a:r>
              <a:rPr lang="en-GB" dirty="0"/>
              <a:t>Title of the chapter</a:t>
            </a:r>
          </a:p>
        </p:txBody>
      </p:sp>
      <p:sp>
        <p:nvSpPr>
          <p:cNvPr id="2" name="Espace réservé du numéro de diapositive 1">
            <a:extLst>
              <a:ext uri="{FF2B5EF4-FFF2-40B4-BE49-F238E27FC236}">
                <a16:creationId xmlns:a16="http://schemas.microsoft.com/office/drawing/2014/main" id="{CC92D6CF-FE8C-42F7-BBBC-FC11531533BE}"/>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8" name="Cadre 7">
            <a:extLst>
              <a:ext uri="{FF2B5EF4-FFF2-40B4-BE49-F238E27FC236}">
                <a16:creationId xmlns:a16="http://schemas.microsoft.com/office/drawing/2014/main" id="{A42C5E95-BCE9-407E-AE64-73EA646B2B4F}"/>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986623524"/>
      </p:ext>
    </p:extLst>
  </p:cSld>
  <p:clrMapOvr>
    <a:masterClrMapping/>
  </p:clrMapOvr>
  <p:extLst>
    <p:ext uri="{DCECCB84-F9BA-43D5-87BE-67443E8EF086}">
      <p15:sldGuideLst xmlns:p15="http://schemas.microsoft.com/office/powerpoint/2012/main">
        <p15:guide id="1" pos="288" userDrawn="1">
          <p15:clr>
            <a:srgbClr val="F26B43"/>
          </p15:clr>
        </p15:guide>
        <p15:guide id="2" pos="360" userDrawn="1">
          <p15:clr>
            <a:srgbClr val="A4A3A4"/>
          </p15:clr>
        </p15:guide>
        <p15:guide id="3" orient="horz" pos="3906" userDrawn="1">
          <p15:clr>
            <a:srgbClr val="F26B43"/>
          </p15:clr>
        </p15:guide>
        <p15:guide id="4" orient="horz" pos="4156" userDrawn="1">
          <p15:clr>
            <a:srgbClr val="F26B43"/>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Verbatim_Turquoise bg">
    <p:bg>
      <p:bgPr>
        <a:solidFill>
          <a:schemeClr val="tx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userDrawn="1">
            <p:custDataLst>
              <p:tags r:id="rId2"/>
            </p:custDataLst>
            <p:extLst>
              <p:ext uri="{D42A27DB-BD31-4B8C-83A1-F6EECF244321}">
                <p14:modId xmlns:p14="http://schemas.microsoft.com/office/powerpoint/2010/main" val="39400773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333"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9436100" cy="2636591"/>
          </a:xfrm>
          <a:prstGeom prst="rect">
            <a:avLst/>
          </a:prstGeom>
        </p:spPr>
        <p:txBody>
          <a:bodyPr anchor="b">
            <a:normAutofit/>
          </a:bodyPr>
          <a:lstStyle>
            <a:lvl1pPr marL="0" indent="0">
              <a:buNone/>
              <a:defRPr sz="2800">
                <a:solidFill>
                  <a:schemeClr val="bg1"/>
                </a:solidFill>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60907"/>
            <a:ext cx="9436100" cy="313932"/>
          </a:xfrm>
          <a:prstGeom prst="rect">
            <a:avLst/>
          </a:prstGeom>
        </p:spPr>
        <p:txBody>
          <a:bodyPr anchor="b">
            <a:spAutoFit/>
          </a:bodyPr>
          <a:lstStyle>
            <a:lvl1pPr marL="0" indent="0" algn="r">
              <a:buNone/>
              <a:defRPr sz="1600" b="1">
                <a:solidFill>
                  <a:schemeClr val="bg1"/>
                </a:solidFill>
              </a:defRPr>
            </a:lvl1pPr>
          </a:lstStyle>
          <a:p>
            <a:pPr lvl="0"/>
            <a:r>
              <a:rPr lang="en-GB" dirty="0"/>
              <a:t>Name, Position</a:t>
            </a:r>
          </a:p>
        </p:txBody>
      </p:sp>
      <p:pic>
        <p:nvPicPr>
          <p:cNvPr id="15" name="Graphique 14">
            <a:extLst>
              <a:ext uri="{FF2B5EF4-FFF2-40B4-BE49-F238E27FC236}">
                <a16:creationId xmlns:a16="http://schemas.microsoft.com/office/drawing/2014/main" id="{4F76921A-1CA6-45D7-A760-D7C080EEEB2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grpSp>
        <p:nvGrpSpPr>
          <p:cNvPr id="16" name="Group 10">
            <a:extLst>
              <a:ext uri="{FF2B5EF4-FFF2-40B4-BE49-F238E27FC236}">
                <a16:creationId xmlns:a16="http://schemas.microsoft.com/office/drawing/2014/main" id="{B5EE29BA-2D73-4E72-A1CA-6B221F770E63}"/>
              </a:ext>
            </a:extLst>
          </p:cNvPr>
          <p:cNvGrpSpPr>
            <a:grpSpLocks/>
          </p:cNvGrpSpPr>
          <p:nvPr userDrawn="1"/>
        </p:nvGrpSpPr>
        <p:grpSpPr bwMode="auto">
          <a:xfrm rot="10800000" flipH="1">
            <a:off x="701006" y="1494906"/>
            <a:ext cx="1299066" cy="1063368"/>
            <a:chOff x="1033" y="1117"/>
            <a:chExt cx="1907" cy="1561"/>
          </a:xfrm>
          <a:solidFill>
            <a:schemeClr val="bg1"/>
          </a:solidFill>
        </p:grpSpPr>
        <p:sp>
          <p:nvSpPr>
            <p:cNvPr id="17" name="Freeform 11">
              <a:extLst>
                <a:ext uri="{FF2B5EF4-FFF2-40B4-BE49-F238E27FC236}">
                  <a16:creationId xmlns:a16="http://schemas.microsoft.com/office/drawing/2014/main" id="{07E82261-878F-41AC-82EB-D8EEDA8D4775}"/>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sp>
          <p:nvSpPr>
            <p:cNvPr id="22" name="Freeform 12">
              <a:extLst>
                <a:ext uri="{FF2B5EF4-FFF2-40B4-BE49-F238E27FC236}">
                  <a16:creationId xmlns:a16="http://schemas.microsoft.com/office/drawing/2014/main" id="{16276F45-0CAF-4CAB-9066-CAABA52E2532}"/>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p>
          </p:txBody>
        </p:sp>
      </p:grpSp>
      <p:sp>
        <p:nvSpPr>
          <p:cNvPr id="4" name="Titre 3">
            <a:extLst>
              <a:ext uri="{FF2B5EF4-FFF2-40B4-BE49-F238E27FC236}">
                <a16:creationId xmlns:a16="http://schemas.microsoft.com/office/drawing/2014/main" id="{BCFA5C14-C9CA-4FFB-9083-AE890C41C0B0}"/>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20" name="Espace réservé du numéro de diapositive 2">
            <a:extLst>
              <a:ext uri="{FF2B5EF4-FFF2-40B4-BE49-F238E27FC236}">
                <a16:creationId xmlns:a16="http://schemas.microsoft.com/office/drawing/2014/main" id="{D4126967-78A5-497D-A140-B29A3E7B98FD}"/>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3" name="Espace réservé du pied de page 4">
            <a:extLst>
              <a:ext uri="{FF2B5EF4-FFF2-40B4-BE49-F238E27FC236}">
                <a16:creationId xmlns:a16="http://schemas.microsoft.com/office/drawing/2014/main" id="{38B07116-5D1F-4AA7-9788-74A3139F7BB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3" name="Cadre 12">
            <a:extLst>
              <a:ext uri="{FF2B5EF4-FFF2-40B4-BE49-F238E27FC236}">
                <a16:creationId xmlns:a16="http://schemas.microsoft.com/office/drawing/2014/main" id="{CE5B38A0-F8CE-4105-8A52-31B103BD6472}"/>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72981528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amp; visual">
    <p:spTree>
      <p:nvGrpSpPr>
        <p:cNvPr id="1" name=""/>
        <p:cNvGrpSpPr/>
        <p:nvPr/>
      </p:nvGrpSpPr>
      <p:grpSpPr>
        <a:xfrm>
          <a:off x="0" y="0"/>
          <a:ext cx="0" cy="0"/>
          <a:chOff x="0" y="0"/>
          <a:chExt cx="0" cy="0"/>
        </a:xfrm>
      </p:grpSpPr>
      <p:sp>
        <p:nvSpPr>
          <p:cNvPr id="17" name="Espace réservé pour une image  16">
            <a:extLst>
              <a:ext uri="{FF2B5EF4-FFF2-40B4-BE49-F238E27FC236}">
                <a16:creationId xmlns:a16="http://schemas.microsoft.com/office/drawing/2014/main" id="{ACCC50F6-A13C-4A72-BF1F-65509E750763}"/>
              </a:ext>
            </a:extLst>
          </p:cNvPr>
          <p:cNvSpPr>
            <a:spLocks noGrp="1"/>
          </p:cNvSpPr>
          <p:nvPr>
            <p:ph type="pic" sz="quarter" idx="16"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extLst>
              <p:ext uri="{D42A27DB-BD31-4B8C-83A1-F6EECF244321}">
                <p14:modId xmlns:p14="http://schemas.microsoft.com/office/powerpoint/2010/main" val="3258902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361"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1" name="Espace réservé du numéro de diapositive 10">
            <a:extLst>
              <a:ext uri="{FF2B5EF4-FFF2-40B4-BE49-F238E27FC236}">
                <a16:creationId xmlns:a16="http://schemas.microsoft.com/office/drawing/2014/main" id="{D13C9137-663D-49DC-8F1F-B4154A1768F8}"/>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10" name="Content Placeholder 2">
            <a:extLst>
              <a:ext uri="{FF2B5EF4-FFF2-40B4-BE49-F238E27FC236}">
                <a16:creationId xmlns:a16="http://schemas.microsoft.com/office/drawing/2014/main" id="{BC255F4D-0F63-429F-A210-8AB39E1597B6}"/>
              </a:ext>
            </a:extLst>
          </p:cNvPr>
          <p:cNvSpPr>
            <a:spLocks noGrp="1"/>
          </p:cNvSpPr>
          <p:nvPr>
            <p:ph idx="1" hasCustomPrompt="1"/>
          </p:nvPr>
        </p:nvSpPr>
        <p:spPr>
          <a:xfrm>
            <a:off x="404786" y="1808820"/>
            <a:ext cx="4431074" cy="3868080"/>
          </a:xfrm>
          <a:prstGeom prst="rect">
            <a:avLst/>
          </a:prstGeom>
        </p:spPr>
        <p:txBody>
          <a:bodyPr>
            <a:normAutofit/>
          </a:bodyPr>
          <a:lstStyle>
            <a:lvl1pPr>
              <a:spcBef>
                <a:spcPts val="1800"/>
              </a:spcBef>
              <a:defRPr sz="18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pPr lvl="0"/>
            <a:r>
              <a:rPr lang="en-GB" dirty="0"/>
              <a:t>Click to change the text styles on the slide master</a:t>
            </a:r>
          </a:p>
          <a:p>
            <a:pPr lvl="1"/>
            <a:r>
              <a:rPr lang="en-GB" dirty="0"/>
              <a:t>Second level</a:t>
            </a:r>
          </a:p>
          <a:p>
            <a:pPr lvl="2"/>
            <a:r>
              <a:rPr lang="en-GB" dirty="0"/>
              <a:t>Third level</a:t>
            </a:r>
          </a:p>
        </p:txBody>
      </p:sp>
      <p:sp>
        <p:nvSpPr>
          <p:cNvPr id="3" name="Titre 2">
            <a:extLst>
              <a:ext uri="{FF2B5EF4-FFF2-40B4-BE49-F238E27FC236}">
                <a16:creationId xmlns:a16="http://schemas.microsoft.com/office/drawing/2014/main" id="{8F43575F-7025-4100-95D8-AB5D8B996E18}"/>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2" name="Text Placeholder 8">
            <a:extLst>
              <a:ext uri="{FF2B5EF4-FFF2-40B4-BE49-F238E27FC236}">
                <a16:creationId xmlns:a16="http://schemas.microsoft.com/office/drawing/2014/main" id="{E1843EEE-85CE-4470-99A7-7C858A82380C}"/>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3" name="Text Placeholder 5">
            <a:extLst>
              <a:ext uri="{FF2B5EF4-FFF2-40B4-BE49-F238E27FC236}">
                <a16:creationId xmlns:a16="http://schemas.microsoft.com/office/drawing/2014/main" id="{3EAC0C95-AD9D-4FA2-B736-C3D930C8D9A6}"/>
              </a:ext>
            </a:extLst>
          </p:cNvPr>
          <p:cNvSpPr>
            <a:spLocks noGrp="1"/>
          </p:cNvSpPr>
          <p:nvPr>
            <p:ph type="body" sz="quarter" idx="15" hasCustomPrompt="1"/>
          </p:nvPr>
        </p:nvSpPr>
        <p:spPr>
          <a:xfrm>
            <a:off x="407368" y="1368596"/>
            <a:ext cx="2311063" cy="353943"/>
          </a:xfrm>
          <a:prstGeom prst="rect">
            <a:avLst/>
          </a:prstGeom>
          <a:noFill/>
        </p:spPr>
        <p:txBody>
          <a:bodyPr wrap="none" lIns="72000" rIns="72000" bIns="0">
            <a:spAutoFit/>
          </a:bodyPr>
          <a:lstStyle>
            <a:lvl1pPr marL="0" indent="0">
              <a:buNone/>
              <a:defRPr sz="2000">
                <a:solidFill>
                  <a:srgbClr val="2F469C"/>
                </a:solidFill>
              </a:defRPr>
            </a:lvl1pPr>
          </a:lstStyle>
          <a:p>
            <a:pPr lvl="0"/>
            <a:r>
              <a:rPr lang="en-GB" dirty="0"/>
              <a:t>Subtitle of the slide</a:t>
            </a:r>
          </a:p>
        </p:txBody>
      </p:sp>
    </p:spTree>
    <p:extLst>
      <p:ext uri="{BB962C8B-B14F-4D97-AF65-F5344CB8AC3E}">
        <p14:creationId xmlns:p14="http://schemas.microsoft.com/office/powerpoint/2010/main" val="1930764813"/>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userDrawn="1">
          <p15:clr>
            <a:srgbClr val="F26B43"/>
          </p15:clr>
        </p15:guide>
        <p15:guide id="5" orient="horz" pos="1136">
          <p15:clr>
            <a:srgbClr val="F26B43"/>
          </p15:clr>
        </p15:guide>
        <p15:guide id="6" orient="horz" pos="3584">
          <p15:clr>
            <a:srgbClr val="F26B43"/>
          </p15:clr>
        </p15:guide>
        <p15:guide id="7" orient="horz" pos="3906" userDrawn="1">
          <p15:clr>
            <a:srgbClr val="F26B43"/>
          </p15:clr>
        </p15:guide>
        <p15:guide id="8" orient="horz" pos="4156" userDrawn="1">
          <p15:clr>
            <a:srgbClr val="F26B43"/>
          </p15:clr>
        </p15:guide>
        <p15:guide id="9" pos="306" userDrawn="1">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 Columns with title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id="{0B635F16-E6B6-4D10-887E-F31D8954A50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506445350"/>
      </p:ext>
    </p:extLst>
  </p:cSld>
  <p:clrMapOvr>
    <a:masterClrMapping/>
  </p:clrMapOvr>
  <p:extLst>
    <p:ext uri="{DCECCB84-F9BA-43D5-87BE-67443E8EF086}">
      <p15:sldGuideLst xmlns:p15="http://schemas.microsoft.com/office/powerpoint/2012/main">
        <p15:guide id="1" pos="247" userDrawn="1">
          <p15:clr>
            <a:srgbClr val="F26B43"/>
          </p15:clr>
        </p15:guide>
        <p15:guide id="2" pos="7427" userDrawn="1">
          <p15:clr>
            <a:srgbClr val="F26B43"/>
          </p15:clr>
        </p15:guide>
        <p15:guide id="3" orient="horz" pos="232" userDrawn="1">
          <p15:clr>
            <a:srgbClr val="F26B43"/>
          </p15:clr>
        </p15:guide>
        <p15:guide id="4" orient="horz" pos="600" userDrawn="1">
          <p15:clr>
            <a:srgbClr val="F26B43"/>
          </p15:clr>
        </p15:guide>
        <p15:guide id="5" pos="306" userDrawn="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 Columns with title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6" name="Cadre 15">
            <a:extLst>
              <a:ext uri="{FF2B5EF4-FFF2-40B4-BE49-F238E27FC236}">
                <a16:creationId xmlns:a16="http://schemas.microsoft.com/office/drawing/2014/main" id="{A049C2FF-866E-4770-BF24-2A2A4573819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222371459"/>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3 Columns with titles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FC8FF2AF-06A0-4B8B-9C11-55AAD938CF0A}"/>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2BA67531-D311-47B7-B960-48B899E690DC}"/>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9382E897-FE3C-46CE-9ACE-BEA0D33725B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00558913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Columns with title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3" name="Titre 2">
            <a:extLst>
              <a:ext uri="{FF2B5EF4-FFF2-40B4-BE49-F238E27FC236}">
                <a16:creationId xmlns:a16="http://schemas.microsoft.com/office/drawing/2014/main" id="{A2E5821E-5E07-419A-93B0-B87D777322B9}"/>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3" name="Text Placeholder 8">
            <a:extLst>
              <a:ext uri="{FF2B5EF4-FFF2-40B4-BE49-F238E27FC236}">
                <a16:creationId xmlns:a16="http://schemas.microsoft.com/office/drawing/2014/main" id="{CDD6CB83-B5C7-4C2F-975F-4D9C70129750}"/>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2F8C33B5-002C-4EF1-B673-4461C926FCC8}"/>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5" name="Straight Connector 35">
            <a:extLst>
              <a:ext uri="{FF2B5EF4-FFF2-40B4-BE49-F238E27FC236}">
                <a16:creationId xmlns:a16="http://schemas.microsoft.com/office/drawing/2014/main" id="{A95AE8C0-70B8-4713-90A9-411938A16F46}"/>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16" name="Cadre 15">
            <a:extLst>
              <a:ext uri="{FF2B5EF4-FFF2-40B4-BE49-F238E27FC236}">
                <a16:creationId xmlns:a16="http://schemas.microsoft.com/office/drawing/2014/main" id="{CEA53D01-537F-435D-939E-B46D503CAC2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281239068"/>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30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3 Columns with titles_dark blue bg">
    <p:bg>
      <p:bgPr>
        <a:solidFill>
          <a:schemeClr val="accent1"/>
        </a:solidFill>
        <a:effectLst/>
      </p:bgPr>
    </p:bg>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268122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17202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solidFill>
                  <a:schemeClr val="bg1"/>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3" name="Titre 2">
            <a:extLst>
              <a:ext uri="{FF2B5EF4-FFF2-40B4-BE49-F238E27FC236}">
                <a16:creationId xmlns:a16="http://schemas.microsoft.com/office/drawing/2014/main" id="{FC2D6908-8D7A-4CE7-9DE7-6E0F205FACEA}"/>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slide</a:t>
            </a:r>
          </a:p>
        </p:txBody>
      </p:sp>
      <p:sp>
        <p:nvSpPr>
          <p:cNvPr id="13" name="Espace réservé du numéro de diapositive 2">
            <a:extLst>
              <a:ext uri="{FF2B5EF4-FFF2-40B4-BE49-F238E27FC236}">
                <a16:creationId xmlns:a16="http://schemas.microsoft.com/office/drawing/2014/main" id="{24ADEA99-782B-4EA9-8B50-5C36455F7ED5}"/>
              </a:ext>
            </a:extLst>
          </p:cNvPr>
          <p:cNvSpPr>
            <a:spLocks noGrp="1"/>
          </p:cNvSpPr>
          <p:nvPr>
            <p:ph type="sldNum" sz="quarter" idx="20"/>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6" name="Espace réservé du pied de page 4">
            <a:extLst>
              <a:ext uri="{FF2B5EF4-FFF2-40B4-BE49-F238E27FC236}">
                <a16:creationId xmlns:a16="http://schemas.microsoft.com/office/drawing/2014/main" id="{1C65FA57-AC6F-4E7C-BFE5-E8B5F9BC4595}"/>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5" name="Text Placeholder 8">
            <a:extLst>
              <a:ext uri="{FF2B5EF4-FFF2-40B4-BE49-F238E27FC236}">
                <a16:creationId xmlns:a16="http://schemas.microsoft.com/office/drawing/2014/main" id="{894C1CDE-19D4-4D84-B267-37EEF280E791}"/>
              </a:ext>
            </a:extLst>
          </p:cNvPr>
          <p:cNvSpPr>
            <a:spLocks noGrp="1"/>
          </p:cNvSpPr>
          <p:nvPr>
            <p:ph type="body" sz="quarter" idx="21"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2116900645"/>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10" userDrawn="1">
          <p15:clr>
            <a:srgbClr val="F26B43"/>
          </p15:clr>
        </p15:guide>
        <p15:guide id="4" orient="horz" pos="600">
          <p15:clr>
            <a:srgbClr val="F26B43"/>
          </p15:clr>
        </p15:guide>
        <p15:guide id="5" pos="306" userDrawn="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1F327ED3-8F17-47CC-A13B-08AE8ED17B2A}"/>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55577216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pos="7379" userDrawn="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4" name="Cadre 13">
            <a:extLst>
              <a:ext uri="{FF2B5EF4-FFF2-40B4-BE49-F238E27FC236}">
                <a16:creationId xmlns:a16="http://schemas.microsoft.com/office/drawing/2014/main" id="{EF680AAE-5E06-4510-A29A-EA1B5C3FC64E}"/>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03528129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4"/>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46EDFA8F-1089-4EDE-804F-C8EEA747D94B}"/>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E1FE6121-B033-48ED-8125-9D7B1EB9D180}"/>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AFA2E4AD-7204-43D7-8512-89DC1D3D221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889923953"/>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pter_3">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2"/>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38" name="Diapositive think-cell" r:id="rId6" imgW="532" imgH="530" progId="TCLayout.ActiveDocument.1">
                  <p:embed/>
                </p:oleObj>
              </mc:Choice>
              <mc:Fallback>
                <p:oleObj name="Diapositive think-cell" r:id="rId6" imgW="532" imgH="53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0" name="Graphique 8">
            <a:extLst>
              <a:ext uri="{FF2B5EF4-FFF2-40B4-BE49-F238E27FC236}">
                <a16:creationId xmlns:a16="http://schemas.microsoft.com/office/drawing/2014/main" id="{12566D07-C10F-4149-9D24-43409582809E}"/>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1" name="Espace réservé du numéro de diapositive 2">
            <a:extLst>
              <a:ext uri="{FF2B5EF4-FFF2-40B4-BE49-F238E27FC236}">
                <a16:creationId xmlns:a16="http://schemas.microsoft.com/office/drawing/2014/main" id="{DA7B4581-DBF3-4675-85A2-573E4F1A22C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4" name="Espace réservé du pied de page 4">
            <a:extLst>
              <a:ext uri="{FF2B5EF4-FFF2-40B4-BE49-F238E27FC236}">
                <a16:creationId xmlns:a16="http://schemas.microsoft.com/office/drawing/2014/main" id="{9E7FCC28-2779-438A-83C5-F5B120BFA1B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2</a:t>
            </a:r>
          </a:p>
        </p:txBody>
      </p:sp>
      <p:sp>
        <p:nvSpPr>
          <p:cNvPr id="15" name="Cadre 14">
            <a:extLst>
              <a:ext uri="{FF2B5EF4-FFF2-40B4-BE49-F238E27FC236}">
                <a16:creationId xmlns:a16="http://schemas.microsoft.com/office/drawing/2014/main" id="{02F159B8-5F8C-452A-BB13-84E84CEAF42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489549019"/>
      </p:ext>
    </p:extLst>
  </p:cSld>
  <p:clrMapOvr>
    <a:masterClrMapping/>
  </p:clrMapOvr>
  <p:extLst>
    <p:ext uri="{DCECCB84-F9BA-43D5-87BE-67443E8EF086}">
      <p15:sldGuideLst xmlns:p15="http://schemas.microsoft.com/office/powerpoint/2012/main">
        <p15:guide id="1" orient="horz" pos="4156" userDrawn="1">
          <p15:clr>
            <a:srgbClr val="F26B43"/>
          </p15:clr>
        </p15:guide>
        <p15:guide id="2" orient="horz" pos="3906" userDrawn="1">
          <p15:clr>
            <a:srgbClr val="F26B43"/>
          </p15:clr>
        </p15:guide>
        <p15:guide id="3" pos="288" userDrawn="1">
          <p15:clr>
            <a:srgbClr val="F26B43"/>
          </p15:clr>
        </p15:guide>
        <p15:guide id="4" pos="360" userDrawn="1">
          <p15:clr>
            <a:srgbClr val="A4A3A4"/>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 Columns with titles &amp; visuals [V2] with dividers">
    <p:spTree>
      <p:nvGrpSpPr>
        <p:cNvPr id="1" name=""/>
        <p:cNvGrpSpPr/>
        <p:nvPr/>
      </p:nvGrpSpPr>
      <p:grpSpPr>
        <a:xfrm>
          <a:off x="0" y="0"/>
          <a:ext cx="0" cy="0"/>
          <a:chOff x="0" y="0"/>
          <a:chExt cx="0" cy="0"/>
        </a:xfrm>
      </p:grpSpPr>
      <p:sp>
        <p:nvSpPr>
          <p:cNvPr id="7" name="Espace réservé du texte 7">
            <a:extLst>
              <a:ext uri="{FF2B5EF4-FFF2-40B4-BE49-F238E27FC236}">
                <a16:creationId xmlns:a16="http://schemas.microsoft.com/office/drawing/2014/main" id="{956F1229-4838-4B2A-8426-04F56D2CA3E0}"/>
              </a:ext>
            </a:extLst>
          </p:cNvPr>
          <p:cNvSpPr>
            <a:spLocks noGrp="1"/>
          </p:cNvSpPr>
          <p:nvPr>
            <p:ph type="body" sz="quarter" idx="13" hasCustomPrompt="1"/>
          </p:nvPr>
        </p:nvSpPr>
        <p:spPr>
          <a:xfrm>
            <a:off x="495300" y="3433390"/>
            <a:ext cx="3121480" cy="341633"/>
          </a:xfrm>
          <a:prstGeom prst="rect">
            <a:avLst/>
          </a:prstGeom>
        </p:spPr>
        <p:txBody>
          <a:bodyPr anchor="b">
            <a:spAutoFit/>
          </a:bodyPr>
          <a:lstStyle>
            <a:lvl1pPr marL="0" indent="0" algn="l">
              <a:buFont typeface="Arial" panose="020B0604020202020204" pitchFamily="34" charset="0"/>
              <a:buNone/>
              <a:defRPr b="1" cap="all" spc="0" baseline="0">
                <a:solidFill>
                  <a:schemeClr val="bg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8" name="Espace réservé du texte 7">
            <a:extLst>
              <a:ext uri="{FF2B5EF4-FFF2-40B4-BE49-F238E27FC236}">
                <a16:creationId xmlns:a16="http://schemas.microsoft.com/office/drawing/2014/main" id="{B2693C99-AE29-457B-968A-2239A52900BE}"/>
              </a:ext>
            </a:extLst>
          </p:cNvPr>
          <p:cNvSpPr>
            <a:spLocks noGrp="1"/>
          </p:cNvSpPr>
          <p:nvPr>
            <p:ph type="body" sz="quarter" idx="14" hasCustomPrompt="1"/>
          </p:nvPr>
        </p:nvSpPr>
        <p:spPr>
          <a:xfrm>
            <a:off x="453526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tx2"/>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9" name="Espace réservé du texte 7">
            <a:extLst>
              <a:ext uri="{FF2B5EF4-FFF2-40B4-BE49-F238E27FC236}">
                <a16:creationId xmlns:a16="http://schemas.microsoft.com/office/drawing/2014/main" id="{A01E6CBC-FC7B-426F-9962-4D075E7397D9}"/>
              </a:ext>
            </a:extLst>
          </p:cNvPr>
          <p:cNvSpPr>
            <a:spLocks noGrp="1"/>
          </p:cNvSpPr>
          <p:nvPr>
            <p:ph type="body" sz="quarter" idx="15" hasCustomPrompt="1"/>
          </p:nvPr>
        </p:nvSpPr>
        <p:spPr>
          <a:xfrm>
            <a:off x="8575220" y="3433390"/>
            <a:ext cx="3121480" cy="341632"/>
          </a:xfrm>
          <a:prstGeom prst="rect">
            <a:avLst/>
          </a:prstGeom>
        </p:spPr>
        <p:txBody>
          <a:bodyPr anchor="b">
            <a:spAutoFit/>
          </a:bodyPr>
          <a:lstStyle>
            <a:lvl1pPr marL="0" indent="0" algn="l">
              <a:buFont typeface="Arial" panose="020B0604020202020204" pitchFamily="34" charset="0"/>
              <a:buNone/>
              <a:defRPr b="1" cap="all" spc="0" baseline="0">
                <a:solidFill>
                  <a:schemeClr val="accent3"/>
                </a:solidFill>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0" name="Espace réservé du texte 7">
            <a:extLst>
              <a:ext uri="{FF2B5EF4-FFF2-40B4-BE49-F238E27FC236}">
                <a16:creationId xmlns:a16="http://schemas.microsoft.com/office/drawing/2014/main" id="{D3B07922-F4EA-412B-8928-CBD31E51C22E}"/>
              </a:ext>
            </a:extLst>
          </p:cNvPr>
          <p:cNvSpPr>
            <a:spLocks noGrp="1"/>
          </p:cNvSpPr>
          <p:nvPr>
            <p:ph type="body" sz="quarter" idx="16" hasCustomPrompt="1"/>
          </p:nvPr>
        </p:nvSpPr>
        <p:spPr>
          <a:xfrm>
            <a:off x="49530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1" name="Espace réservé du texte 7">
            <a:extLst>
              <a:ext uri="{FF2B5EF4-FFF2-40B4-BE49-F238E27FC236}">
                <a16:creationId xmlns:a16="http://schemas.microsoft.com/office/drawing/2014/main" id="{07C2FCBD-4D77-4221-8FE3-9ACE14F86631}"/>
              </a:ext>
            </a:extLst>
          </p:cNvPr>
          <p:cNvSpPr>
            <a:spLocks noGrp="1"/>
          </p:cNvSpPr>
          <p:nvPr>
            <p:ph type="body" sz="quarter" idx="17" hasCustomPrompt="1"/>
          </p:nvPr>
        </p:nvSpPr>
        <p:spPr>
          <a:xfrm>
            <a:off x="453526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12" name="Espace réservé du texte 7">
            <a:extLst>
              <a:ext uri="{FF2B5EF4-FFF2-40B4-BE49-F238E27FC236}">
                <a16:creationId xmlns:a16="http://schemas.microsoft.com/office/drawing/2014/main" id="{D706B066-FD11-478C-89AC-C849AC0D6F15}"/>
              </a:ext>
            </a:extLst>
          </p:cNvPr>
          <p:cNvSpPr>
            <a:spLocks noGrp="1"/>
          </p:cNvSpPr>
          <p:nvPr>
            <p:ph type="body" sz="quarter" idx="18" hasCustomPrompt="1"/>
          </p:nvPr>
        </p:nvSpPr>
        <p:spPr>
          <a:xfrm>
            <a:off x="8575220" y="3924193"/>
            <a:ext cx="3121480" cy="338554"/>
          </a:xfrm>
          <a:prstGeom prst="rect">
            <a:avLst/>
          </a:prstGeom>
        </p:spPr>
        <p:txBody>
          <a:bodyPr anchor="t">
            <a:spAutoFit/>
          </a:bodyPr>
          <a:lstStyle>
            <a:lvl1pPr marL="0" indent="0" algn="l">
              <a:lnSpc>
                <a:spcPct val="100000"/>
              </a:lnSpc>
              <a:spcBef>
                <a:spcPts val="300"/>
              </a:spcBef>
              <a:buFont typeface="Arial" panose="020B0604020202020204" pitchFamily="34" charset="0"/>
              <a:buNone/>
              <a:defRPr sz="1600" b="0" cap="none" spc="0" baseline="0">
                <a:latin typeface="+mn-lt"/>
              </a:defRPr>
            </a:lvl1pPr>
            <a:lvl2pPr marL="133350" indent="0" algn="ctr">
              <a:buNone/>
              <a:defRPr/>
            </a:lvl2pPr>
            <a:lvl3pPr marL="542925" indent="0" algn="ctr">
              <a:buNone/>
              <a:defRPr/>
            </a:lvl3pPr>
            <a:lvl4pPr marL="758825" indent="0" algn="ctr">
              <a:buNone/>
              <a:defRPr/>
            </a:lvl4pPr>
            <a:lvl5pPr marL="1033463" indent="0" algn="ctr">
              <a:buNone/>
              <a:defRPr/>
            </a:lvl5pPr>
          </a:lstStyle>
          <a:p>
            <a:pPr lvl="0"/>
            <a:r>
              <a:rPr lang="en-GB" dirty="0"/>
              <a:t>Your text here</a:t>
            </a:r>
          </a:p>
        </p:txBody>
      </p:sp>
      <p:sp>
        <p:nvSpPr>
          <p:cNvPr id="2" name="Espace réservé du numéro de diapositive 1">
            <a:extLst>
              <a:ext uri="{FF2B5EF4-FFF2-40B4-BE49-F238E27FC236}">
                <a16:creationId xmlns:a16="http://schemas.microsoft.com/office/drawing/2014/main" id="{5E5C377F-165D-4F92-8DD6-B7B690C55D8F}"/>
              </a:ext>
            </a:extLst>
          </p:cNvPr>
          <p:cNvSpPr>
            <a:spLocks noGrp="1"/>
          </p:cNvSpPr>
          <p:nvPr>
            <p:ph type="sldNum" sz="quarter" idx="20"/>
          </p:nvPr>
        </p:nvSpPr>
        <p:spPr/>
        <p:txBody>
          <a:bodyPr/>
          <a:lstStyle/>
          <a:p>
            <a:fld id="{D61AABEC-672F-4B68-B914-690DA978312C}" type="slidenum">
              <a:rPr lang="en-GB" smtClean="0"/>
              <a:pPr/>
              <a:t>‹#›</a:t>
            </a:fld>
            <a:r>
              <a:rPr lang="en-GB" dirty="0"/>
              <a:t> ‒ </a:t>
            </a:r>
          </a:p>
        </p:txBody>
      </p:sp>
      <p:sp>
        <p:nvSpPr>
          <p:cNvPr id="17" name="Espace réservé pour une image  3">
            <a:extLst>
              <a:ext uri="{FF2B5EF4-FFF2-40B4-BE49-F238E27FC236}">
                <a16:creationId xmlns:a16="http://schemas.microsoft.com/office/drawing/2014/main" id="{819F08F9-1548-4EA7-B9D8-5A0F8A35175A}"/>
              </a:ext>
            </a:extLst>
          </p:cNvPr>
          <p:cNvSpPr>
            <a:spLocks noGrp="1"/>
          </p:cNvSpPr>
          <p:nvPr>
            <p:ph type="pic" sz="quarter" idx="21" hasCustomPrompt="1"/>
          </p:nvPr>
        </p:nvSpPr>
        <p:spPr>
          <a:xfrm>
            <a:off x="495300" y="1412777"/>
            <a:ext cx="3121480" cy="1615024"/>
          </a:xfrm>
          <a:prstGeom prst="rect">
            <a:avLst/>
          </a:prstGeom>
          <a:solidFill>
            <a:schemeClr val="bg1">
              <a:lumMod val="95000"/>
            </a:schemeClr>
          </a:solidFill>
        </p:spPr>
        <p:txBody>
          <a:bodyPr/>
          <a:lstStyle/>
          <a:p>
            <a:r>
              <a:rPr lang="en-GB" dirty="0"/>
              <a:t> </a:t>
            </a:r>
          </a:p>
        </p:txBody>
      </p:sp>
      <p:sp>
        <p:nvSpPr>
          <p:cNvPr id="18" name="Espace réservé pour une image  3">
            <a:extLst>
              <a:ext uri="{FF2B5EF4-FFF2-40B4-BE49-F238E27FC236}">
                <a16:creationId xmlns:a16="http://schemas.microsoft.com/office/drawing/2014/main" id="{9F9E6627-E8BC-407E-A08B-D5933391D5FE}"/>
              </a:ext>
            </a:extLst>
          </p:cNvPr>
          <p:cNvSpPr>
            <a:spLocks noGrp="1"/>
          </p:cNvSpPr>
          <p:nvPr>
            <p:ph type="pic" sz="quarter" idx="22" hasCustomPrompt="1"/>
          </p:nvPr>
        </p:nvSpPr>
        <p:spPr>
          <a:xfrm>
            <a:off x="4535260" y="1412777"/>
            <a:ext cx="3121480" cy="1615024"/>
          </a:xfrm>
          <a:prstGeom prst="rect">
            <a:avLst/>
          </a:prstGeom>
          <a:solidFill>
            <a:schemeClr val="bg1">
              <a:lumMod val="95000"/>
            </a:schemeClr>
          </a:solidFill>
        </p:spPr>
        <p:txBody>
          <a:bodyPr/>
          <a:lstStyle/>
          <a:p>
            <a:r>
              <a:rPr lang="en-GB" dirty="0"/>
              <a:t> </a:t>
            </a:r>
          </a:p>
        </p:txBody>
      </p:sp>
      <p:sp>
        <p:nvSpPr>
          <p:cNvPr id="19" name="Espace réservé pour une image  3">
            <a:extLst>
              <a:ext uri="{FF2B5EF4-FFF2-40B4-BE49-F238E27FC236}">
                <a16:creationId xmlns:a16="http://schemas.microsoft.com/office/drawing/2014/main" id="{EF1EFA6A-C7CB-40F1-8449-9F22C2AA8081}"/>
              </a:ext>
            </a:extLst>
          </p:cNvPr>
          <p:cNvSpPr>
            <a:spLocks noGrp="1"/>
          </p:cNvSpPr>
          <p:nvPr>
            <p:ph type="pic" sz="quarter" idx="23" hasCustomPrompt="1"/>
          </p:nvPr>
        </p:nvSpPr>
        <p:spPr>
          <a:xfrm>
            <a:off x="8575220" y="1412777"/>
            <a:ext cx="3121480" cy="161502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2042B6F5-C2DA-453F-A5C3-176EFCAFFFF2}"/>
              </a:ext>
            </a:extLst>
          </p:cNvPr>
          <p:cNvSpPr>
            <a:spLocks noGrp="1"/>
          </p:cNvSpPr>
          <p:nvPr>
            <p:ph type="title" hasCustomPrompt="1"/>
          </p:nvPr>
        </p:nvSpPr>
        <p:spPr/>
        <p:txBody>
          <a:bodyPr/>
          <a:lstStyle>
            <a:lvl1pPr>
              <a:defRPr/>
            </a:lvl1pPr>
          </a:lstStyle>
          <a:p>
            <a:r>
              <a:rPr lang="fr-FR" dirty="0" err="1"/>
              <a:t>Title</a:t>
            </a:r>
            <a:r>
              <a:rPr lang="fr-FR" dirty="0"/>
              <a:t> of the slide</a:t>
            </a:r>
          </a:p>
        </p:txBody>
      </p:sp>
      <p:sp>
        <p:nvSpPr>
          <p:cNvPr id="15" name="Text Placeholder 8">
            <a:extLst>
              <a:ext uri="{FF2B5EF4-FFF2-40B4-BE49-F238E27FC236}">
                <a16:creationId xmlns:a16="http://schemas.microsoft.com/office/drawing/2014/main" id="{C0F578CD-8495-41E9-9EE0-893E378D516A}"/>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cxnSp>
        <p:nvCxnSpPr>
          <p:cNvPr id="14" name="Straight Connector 35">
            <a:extLst>
              <a:ext uri="{FF2B5EF4-FFF2-40B4-BE49-F238E27FC236}">
                <a16:creationId xmlns:a16="http://schemas.microsoft.com/office/drawing/2014/main" id="{07307D6C-CFED-478A-8521-38542B995C3C}"/>
              </a:ext>
            </a:extLst>
          </p:cNvPr>
          <p:cNvCxnSpPr>
            <a:cxnSpLocks/>
          </p:cNvCxnSpPr>
          <p:nvPr userDrawn="1"/>
        </p:nvCxnSpPr>
        <p:spPr>
          <a:xfrm flipV="1">
            <a:off x="407602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cxnSp>
        <p:nvCxnSpPr>
          <p:cNvPr id="16" name="Straight Connector 35">
            <a:extLst>
              <a:ext uri="{FF2B5EF4-FFF2-40B4-BE49-F238E27FC236}">
                <a16:creationId xmlns:a16="http://schemas.microsoft.com/office/drawing/2014/main" id="{38E10114-9C0F-4DDB-BF6F-27B6517277F2}"/>
              </a:ext>
            </a:extLst>
          </p:cNvPr>
          <p:cNvCxnSpPr>
            <a:cxnSpLocks/>
          </p:cNvCxnSpPr>
          <p:nvPr userDrawn="1"/>
        </p:nvCxnSpPr>
        <p:spPr>
          <a:xfrm flipV="1">
            <a:off x="8115980" y="1808820"/>
            <a:ext cx="0" cy="3868080"/>
          </a:xfrm>
          <a:prstGeom prst="line">
            <a:avLst/>
          </a:prstGeom>
          <a:ln w="12700">
            <a:gradFill>
              <a:gsLst>
                <a:gs pos="0">
                  <a:schemeClr val="tx2">
                    <a:alpha val="0"/>
                  </a:schemeClr>
                </a:gs>
                <a:gs pos="55000">
                  <a:schemeClr val="tx2"/>
                </a:gs>
                <a:gs pos="100000">
                  <a:schemeClr val="tx2">
                    <a:alpha val="0"/>
                  </a:schemeClr>
                </a:gs>
              </a:gsLst>
              <a:lin ang="5400000" scaled="1"/>
            </a:gradFill>
          </a:ln>
        </p:spPr>
        <p:style>
          <a:lnRef idx="1">
            <a:schemeClr val="accent1"/>
          </a:lnRef>
          <a:fillRef idx="0">
            <a:schemeClr val="accent1"/>
          </a:fillRef>
          <a:effectRef idx="0">
            <a:schemeClr val="accent1"/>
          </a:effectRef>
          <a:fontRef idx="minor">
            <a:schemeClr val="tx1"/>
          </a:fontRef>
        </p:style>
      </p:cxnSp>
      <p:sp>
        <p:nvSpPr>
          <p:cNvPr id="20" name="Cadre 19">
            <a:extLst>
              <a:ext uri="{FF2B5EF4-FFF2-40B4-BE49-F238E27FC236}">
                <a16:creationId xmlns:a16="http://schemas.microsoft.com/office/drawing/2014/main" id="{7CB89C1B-B469-4BD0-A927-DBD9FD988B4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858590882"/>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pos="7379">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3 Visuals">
    <p:bg>
      <p:bgPr>
        <a:solidFill>
          <a:schemeClr val="accent1"/>
        </a:solidFill>
        <a:effectLst/>
      </p:bgPr>
    </p:bg>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95300" y="2060848"/>
            <a:ext cx="3121480" cy="2736304"/>
          </a:xfrm>
          <a:prstGeom prst="rect">
            <a:avLst/>
          </a:prstGeom>
          <a:solidFill>
            <a:schemeClr val="bg1">
              <a:lumMod val="95000"/>
            </a:schemeClr>
          </a:solidFill>
        </p:spPr>
        <p:txBody>
          <a:bodyPr/>
          <a:lstStyle/>
          <a:p>
            <a:r>
              <a:rPr lang="en-GB" dirty="0"/>
              <a:t> </a:t>
            </a:r>
          </a:p>
        </p:txBody>
      </p:sp>
      <p:sp>
        <p:nvSpPr>
          <p:cNvPr id="28" name="Espace réservé pour une image  3">
            <a:extLst>
              <a:ext uri="{FF2B5EF4-FFF2-40B4-BE49-F238E27FC236}">
                <a16:creationId xmlns:a16="http://schemas.microsoft.com/office/drawing/2014/main" id="{92DC38E2-6433-425A-AC4B-48625A6E8808}"/>
              </a:ext>
            </a:extLst>
          </p:cNvPr>
          <p:cNvSpPr>
            <a:spLocks noGrp="1"/>
          </p:cNvSpPr>
          <p:nvPr>
            <p:ph type="pic" sz="quarter" idx="22" hasCustomPrompt="1"/>
          </p:nvPr>
        </p:nvSpPr>
        <p:spPr>
          <a:xfrm>
            <a:off x="4535260" y="2060848"/>
            <a:ext cx="3121480" cy="2736304"/>
          </a:xfrm>
          <a:prstGeom prst="rect">
            <a:avLst/>
          </a:prstGeom>
          <a:solidFill>
            <a:schemeClr val="bg1">
              <a:lumMod val="95000"/>
            </a:schemeClr>
          </a:solidFill>
        </p:spPr>
        <p:txBody>
          <a:bodyPr/>
          <a:lstStyle/>
          <a:p>
            <a:r>
              <a:rPr lang="en-GB" dirty="0"/>
              <a:t> </a:t>
            </a:r>
          </a:p>
        </p:txBody>
      </p:sp>
      <p:sp>
        <p:nvSpPr>
          <p:cNvPr id="29" name="Espace réservé pour une image  3">
            <a:extLst>
              <a:ext uri="{FF2B5EF4-FFF2-40B4-BE49-F238E27FC236}">
                <a16:creationId xmlns:a16="http://schemas.microsoft.com/office/drawing/2014/main" id="{D5B047C5-121C-4653-820B-DD6B2F6EE107}"/>
              </a:ext>
            </a:extLst>
          </p:cNvPr>
          <p:cNvSpPr>
            <a:spLocks noGrp="1"/>
          </p:cNvSpPr>
          <p:nvPr>
            <p:ph type="pic" sz="quarter" idx="23" hasCustomPrompt="1"/>
          </p:nvPr>
        </p:nvSpPr>
        <p:spPr>
          <a:xfrm>
            <a:off x="8575220" y="2060848"/>
            <a:ext cx="3121480" cy="2736304"/>
          </a:xfrm>
          <a:prstGeom prst="rect">
            <a:avLst/>
          </a:prstGeom>
          <a:solidFill>
            <a:schemeClr val="bg1">
              <a:lumMod val="95000"/>
            </a:schemeClr>
          </a:solidFill>
        </p:spPr>
        <p:txBody>
          <a:bodyPr/>
          <a:lstStyle/>
          <a:p>
            <a:r>
              <a:rPr lang="en-GB" dirty="0"/>
              <a:t> </a:t>
            </a:r>
          </a:p>
        </p:txBody>
      </p:sp>
      <p:sp>
        <p:nvSpPr>
          <p:cNvPr id="3" name="Titre 2">
            <a:extLst>
              <a:ext uri="{FF2B5EF4-FFF2-40B4-BE49-F238E27FC236}">
                <a16:creationId xmlns:a16="http://schemas.microsoft.com/office/drawing/2014/main" id="{1AD6EB8C-2615-4D88-8541-9EF352E77BEE}"/>
              </a:ext>
            </a:extLst>
          </p:cNvPr>
          <p:cNvSpPr>
            <a:spLocks noGrp="1"/>
          </p:cNvSpPr>
          <p:nvPr>
            <p:ph type="title" hasCustomPrompt="1"/>
          </p:nvPr>
        </p:nvSpPr>
        <p:spPr/>
        <p:txBody>
          <a:bodyPr/>
          <a:lstStyle>
            <a:lvl1pPr>
              <a:defRPr>
                <a:solidFill>
                  <a:schemeClr val="bg1"/>
                </a:solidFill>
              </a:defRPr>
            </a:lvl1pPr>
          </a:lstStyle>
          <a:p>
            <a:r>
              <a:rPr lang="fr-FR" dirty="0" err="1"/>
              <a:t>Title</a:t>
            </a:r>
            <a:r>
              <a:rPr lang="fr-FR" dirty="0"/>
              <a:t> of the </a:t>
            </a:r>
            <a:r>
              <a:rPr lang="fr-FR" dirty="0" err="1"/>
              <a:t>slidE</a:t>
            </a:r>
            <a:endParaRPr lang="fr-FR" dirty="0"/>
          </a:p>
        </p:txBody>
      </p:sp>
      <p:sp>
        <p:nvSpPr>
          <p:cNvPr id="10" name="Espace réservé du numéro de diapositive 2">
            <a:extLst>
              <a:ext uri="{FF2B5EF4-FFF2-40B4-BE49-F238E27FC236}">
                <a16:creationId xmlns:a16="http://schemas.microsoft.com/office/drawing/2014/main" id="{D9D196F0-E493-49D2-9F1C-A192712DF1B1}"/>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1" name="Espace réservé du pied de page 4">
            <a:extLst>
              <a:ext uri="{FF2B5EF4-FFF2-40B4-BE49-F238E27FC236}">
                <a16:creationId xmlns:a16="http://schemas.microsoft.com/office/drawing/2014/main" id="{1DA3D5A4-C7A8-4D4E-87EB-5E1B79842736}"/>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9" name="Text Placeholder 8">
            <a:extLst>
              <a:ext uri="{FF2B5EF4-FFF2-40B4-BE49-F238E27FC236}">
                <a16:creationId xmlns:a16="http://schemas.microsoft.com/office/drawing/2014/main" id="{7C0063D2-D9CA-443F-8ADD-8084E6CAF018}"/>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870509180"/>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userDrawn="1">
          <p15:clr>
            <a:srgbClr val="F26B43"/>
          </p15:clr>
        </p15:guide>
        <p15:guide id="4" orient="horz" pos="600">
          <p15:clr>
            <a:srgbClr val="F26B43"/>
          </p15:clr>
        </p15:guide>
        <p15:guide id="5" pos="7379" userDrawn="1">
          <p15:clr>
            <a:srgbClr val="FBAE40"/>
          </p15:clr>
        </p15:guide>
        <p15:guide id="6" pos="306" userDrawn="1">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ontacts_Dark Blue Bg">
    <p:bg>
      <p:bgPr>
        <a:solidFill>
          <a:schemeClr val="accent1"/>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extLst>
              <p:ext uri="{D42A27DB-BD31-4B8C-83A1-F6EECF244321}">
                <p14:modId xmlns:p14="http://schemas.microsoft.com/office/powerpoint/2010/main" val="234879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685" name="Diapositive think-cell" r:id="rId5" imgW="532" imgH="530" progId="TCLayout.ActiveDocument.1">
                  <p:embed/>
                </p:oleObj>
              </mc:Choice>
              <mc:Fallback>
                <p:oleObj name="Diapositive think-cell" r:id="rId5" imgW="532" imgH="53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a:prstGeom prst="rect">
            <a:avLst/>
          </a:prstGeom>
        </p:spPr>
        <p:txBody>
          <a:bodyPr/>
          <a:lstStyle>
            <a:lvl1pPr>
              <a:defRPr>
                <a:solidFill>
                  <a:schemeClr val="bg1"/>
                </a:solidFill>
              </a:defRPr>
            </a:lvl1pPr>
          </a:lstStyle>
          <a:p>
            <a:r>
              <a:rPr lang="nb-NO" dirty="0"/>
              <a:t>Klikk på ikonet for å legge til et bilde</a:t>
            </a:r>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a:prstGeom prst="rect">
            <a:avLst/>
          </a:prstGeom>
        </p:spPr>
        <p:txBody>
          <a:bodyPr/>
          <a:lstStyle>
            <a:lvl1pPr>
              <a:defRPr>
                <a:solidFill>
                  <a:schemeClr val="bg1"/>
                </a:solidFill>
              </a:defRPr>
            </a:lvl1pPr>
          </a:lstStyle>
          <a:p>
            <a:r>
              <a:rPr lang="nb-NO" dirty="0"/>
              <a:t>Klikk på ikonet for å legge til et bilde</a:t>
            </a:r>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a:prstGeom prst="rect">
            <a:avLst/>
          </a:prstGeom>
        </p:spPr>
        <p:txBody>
          <a:bodyPr/>
          <a:lstStyle>
            <a:lvl1pPr>
              <a:defRPr>
                <a:solidFill>
                  <a:schemeClr val="bg1"/>
                </a:solidFill>
              </a:defRPr>
            </a:lvl1pPr>
          </a:lstStyle>
          <a:p>
            <a:r>
              <a:rPr lang="nb-NO" dirty="0"/>
              <a:t>Klikk på ikonet for å legge til et bilde</a:t>
            </a:r>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9F68698D-F3B0-4788-AF4C-465233CDAD8E}"/>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21" name="Espace réservé du numéro de diapositive 2">
            <a:extLst>
              <a:ext uri="{FF2B5EF4-FFF2-40B4-BE49-F238E27FC236}">
                <a16:creationId xmlns:a16="http://schemas.microsoft.com/office/drawing/2014/main" id="{C6A7D93F-558B-468A-BD97-4A324D31E450}"/>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3" name="Espace réservé du pied de page 4">
            <a:extLst>
              <a:ext uri="{FF2B5EF4-FFF2-40B4-BE49-F238E27FC236}">
                <a16:creationId xmlns:a16="http://schemas.microsoft.com/office/drawing/2014/main" id="{D836BAF7-4960-44BE-976B-FA96BE235CD4}"/>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2022</a:t>
            </a:r>
          </a:p>
        </p:txBody>
      </p:sp>
      <p:sp>
        <p:nvSpPr>
          <p:cNvPr id="19" name="Text Placeholder 8">
            <a:extLst>
              <a:ext uri="{FF2B5EF4-FFF2-40B4-BE49-F238E27FC236}">
                <a16:creationId xmlns:a16="http://schemas.microsoft.com/office/drawing/2014/main" id="{0FD6EC61-BEBC-4E54-BC44-9C1775E70656}"/>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68EED736-1703-4230-AAE3-5752B65C5ACC}"/>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835766664"/>
      </p:ext>
    </p:extLst>
  </p:cSld>
  <p:clrMapOvr>
    <a:masterClrMapping/>
  </p:clrMapOvr>
  <p:extLst>
    <p:ext uri="{DCECCB84-F9BA-43D5-87BE-67443E8EF086}">
      <p15:sldGuideLst xmlns:p15="http://schemas.microsoft.com/office/powerpoint/2012/main">
        <p15:guide id="1" orient="horz" pos="232" userDrawn="1">
          <p15:clr>
            <a:srgbClr val="F26B43"/>
          </p15:clr>
        </p15:guide>
        <p15:guide id="2" orient="horz" pos="613" userDrawn="1">
          <p15:clr>
            <a:srgbClr val="F26B43"/>
          </p15:clr>
        </p15:guide>
        <p15:guide id="3" pos="247" userDrawn="1">
          <p15:clr>
            <a:srgbClr val="F26B43"/>
          </p15:clr>
        </p15:guide>
        <p15:guide id="4" pos="7424" userDrawn="1">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1_Contacts_Blue Bg">
    <p:bg>
      <p:bgPr>
        <a:solidFill>
          <a:schemeClr val="bg2"/>
        </a:solidFill>
        <a:effectLst/>
      </p:bgPr>
    </p:bg>
    <p:spTree>
      <p:nvGrpSpPr>
        <p:cNvPr id="1" name=""/>
        <p:cNvGrpSpPr/>
        <p:nvPr/>
      </p:nvGrpSpPr>
      <p:grpSpPr>
        <a:xfrm>
          <a:off x="0" y="0"/>
          <a:ext cx="0" cy="0"/>
          <a:chOff x="0" y="0"/>
          <a:chExt cx="0" cy="0"/>
        </a:xfrm>
      </p:grpSpPr>
      <p:graphicFrame>
        <p:nvGraphicFramePr>
          <p:cNvPr id="7" name="Objet 6" hidden="1">
            <a:extLst>
              <a:ext uri="{FF2B5EF4-FFF2-40B4-BE49-F238E27FC236}">
                <a16:creationId xmlns:a16="http://schemas.microsoft.com/office/drawing/2014/main" id="{906C9BA4-2C1A-4C1C-ABBD-87F774202569}"/>
              </a:ext>
            </a:extLst>
          </p:cNvPr>
          <p:cNvGraphicFramePr>
            <a:graphicFrameLocks noChangeAspect="1"/>
          </p:cNvGraphicFramePr>
          <p:nvPr userDrawn="1">
            <p:custDataLst>
              <p:tags r:id="rId2"/>
            </p:custDataLst>
            <p:extLst>
              <p:ext uri="{D42A27DB-BD31-4B8C-83A1-F6EECF244321}">
                <p14:modId xmlns:p14="http://schemas.microsoft.com/office/powerpoint/2010/main" val="2809081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157" name="Diapositive think-cell" r:id="rId5" imgW="532" imgH="530" progId="TCLayout.ActiveDocument.1">
                  <p:embed/>
                </p:oleObj>
              </mc:Choice>
              <mc:Fallback>
                <p:oleObj name="Diapositive think-cell" r:id="rId5" imgW="532" imgH="530" progId="TCLayout.ActiveDocument.1">
                  <p:embed/>
                  <p:pic>
                    <p:nvPicPr>
                      <p:cNvPr id="7" name="Objet 6" hidden="1">
                        <a:extLst>
                          <a:ext uri="{FF2B5EF4-FFF2-40B4-BE49-F238E27FC236}">
                            <a16:creationId xmlns:a16="http://schemas.microsoft.com/office/drawing/2014/main" id="{906C9BA4-2C1A-4C1C-ABBD-87F77420256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4CDAF32-7531-489D-9E20-8B6D3F39840E}"/>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3" name="Picture Placeholder 2">
            <a:extLst>
              <a:ext uri="{FF2B5EF4-FFF2-40B4-BE49-F238E27FC236}">
                <a16:creationId xmlns:a16="http://schemas.microsoft.com/office/drawing/2014/main" id="{D29AB0E7-CA31-4A74-99A1-D377A0137CBB}"/>
              </a:ext>
            </a:extLst>
          </p:cNvPr>
          <p:cNvSpPr>
            <a:spLocks noGrp="1"/>
          </p:cNvSpPr>
          <p:nvPr>
            <p:ph type="pic" sz="quarter" idx="19"/>
          </p:nvPr>
        </p:nvSpPr>
        <p:spPr>
          <a:xfrm>
            <a:off x="661020" y="3155514"/>
            <a:ext cx="2498984" cy="2498984"/>
          </a:xfrm>
          <a:prstGeom prst="rect">
            <a:avLst/>
          </a:prstGeom>
        </p:spPr>
        <p:txBody>
          <a:bodyPr/>
          <a:lstStyle>
            <a:lvl1pPr>
              <a:defRPr>
                <a:solidFill>
                  <a:schemeClr val="bg1"/>
                </a:solidFill>
              </a:defRPr>
            </a:lvl1pPr>
          </a:lstStyle>
          <a:p>
            <a:r>
              <a:rPr lang="nb-NO" dirty="0"/>
              <a:t>Klikk på ikonet for å legge til et bilde</a:t>
            </a:r>
            <a:endParaRPr lang="en-GB" dirty="0"/>
          </a:p>
        </p:txBody>
      </p:sp>
      <p:sp>
        <p:nvSpPr>
          <p:cNvPr id="13" name="Picture Placeholder 2">
            <a:extLst>
              <a:ext uri="{FF2B5EF4-FFF2-40B4-BE49-F238E27FC236}">
                <a16:creationId xmlns:a16="http://schemas.microsoft.com/office/drawing/2014/main" id="{7B23CA1B-04FD-4FE6-BA8E-8A20DD3B6E3F}"/>
              </a:ext>
            </a:extLst>
          </p:cNvPr>
          <p:cNvSpPr>
            <a:spLocks noGrp="1"/>
          </p:cNvSpPr>
          <p:nvPr>
            <p:ph type="pic" sz="quarter" idx="20"/>
          </p:nvPr>
        </p:nvSpPr>
        <p:spPr>
          <a:xfrm>
            <a:off x="4700980" y="3155514"/>
            <a:ext cx="2498984" cy="2498984"/>
          </a:xfrm>
          <a:prstGeom prst="rect">
            <a:avLst/>
          </a:prstGeom>
        </p:spPr>
        <p:txBody>
          <a:bodyPr/>
          <a:lstStyle>
            <a:lvl1pPr>
              <a:defRPr>
                <a:solidFill>
                  <a:schemeClr val="bg1"/>
                </a:solidFill>
              </a:defRPr>
            </a:lvl1pPr>
          </a:lstStyle>
          <a:p>
            <a:r>
              <a:rPr lang="nb-NO" dirty="0"/>
              <a:t>Klikk på ikonet for å legge til et bilde</a:t>
            </a:r>
            <a:endParaRPr lang="en-GB" dirty="0"/>
          </a:p>
        </p:txBody>
      </p:sp>
      <p:sp>
        <p:nvSpPr>
          <p:cNvPr id="14" name="Picture Placeholder 2">
            <a:extLst>
              <a:ext uri="{FF2B5EF4-FFF2-40B4-BE49-F238E27FC236}">
                <a16:creationId xmlns:a16="http://schemas.microsoft.com/office/drawing/2014/main" id="{F9A195B7-D401-4421-B65D-1CEB16B5A92D}"/>
              </a:ext>
            </a:extLst>
          </p:cNvPr>
          <p:cNvSpPr>
            <a:spLocks noGrp="1"/>
          </p:cNvSpPr>
          <p:nvPr>
            <p:ph type="pic" sz="quarter" idx="21"/>
          </p:nvPr>
        </p:nvSpPr>
        <p:spPr>
          <a:xfrm>
            <a:off x="8740940" y="3155514"/>
            <a:ext cx="2498984" cy="2498984"/>
          </a:xfrm>
          <a:prstGeom prst="rect">
            <a:avLst/>
          </a:prstGeom>
        </p:spPr>
        <p:txBody>
          <a:bodyPr/>
          <a:lstStyle>
            <a:lvl1pPr>
              <a:defRPr>
                <a:solidFill>
                  <a:schemeClr val="bg1"/>
                </a:solidFill>
              </a:defRPr>
            </a:lvl1pPr>
          </a:lstStyle>
          <a:p>
            <a:r>
              <a:rPr lang="nb-NO" dirty="0"/>
              <a:t>Klikk på ikonet for å legge til et bilde</a:t>
            </a:r>
            <a:endParaRPr lang="en-GB" dirty="0"/>
          </a:p>
        </p:txBody>
      </p:sp>
      <p:sp>
        <p:nvSpPr>
          <p:cNvPr id="16" name="Text Placeholder 15">
            <a:extLst>
              <a:ext uri="{FF2B5EF4-FFF2-40B4-BE49-F238E27FC236}">
                <a16:creationId xmlns:a16="http://schemas.microsoft.com/office/drawing/2014/main" id="{41154020-330A-4307-8B18-1E1750724F82}"/>
              </a:ext>
            </a:extLst>
          </p:cNvPr>
          <p:cNvSpPr>
            <a:spLocks noGrp="1"/>
          </p:cNvSpPr>
          <p:nvPr>
            <p:ph type="body" sz="quarter" idx="22" hasCustomPrompt="1"/>
          </p:nvPr>
        </p:nvSpPr>
        <p:spPr>
          <a:xfrm>
            <a:off x="49530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7" name="Text Placeholder 15">
            <a:extLst>
              <a:ext uri="{FF2B5EF4-FFF2-40B4-BE49-F238E27FC236}">
                <a16:creationId xmlns:a16="http://schemas.microsoft.com/office/drawing/2014/main" id="{11E23B54-4D24-46E8-89DC-B72F0E0B6AB6}"/>
              </a:ext>
            </a:extLst>
          </p:cNvPr>
          <p:cNvSpPr>
            <a:spLocks noGrp="1"/>
          </p:cNvSpPr>
          <p:nvPr>
            <p:ph type="body" sz="quarter" idx="23" hasCustomPrompt="1"/>
          </p:nvPr>
        </p:nvSpPr>
        <p:spPr>
          <a:xfrm>
            <a:off x="453526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sp>
        <p:nvSpPr>
          <p:cNvPr id="18" name="Text Placeholder 15">
            <a:extLst>
              <a:ext uri="{FF2B5EF4-FFF2-40B4-BE49-F238E27FC236}">
                <a16:creationId xmlns:a16="http://schemas.microsoft.com/office/drawing/2014/main" id="{B9F6CCAB-D20D-4FE7-A52D-DB5FEFAAB542}"/>
              </a:ext>
            </a:extLst>
          </p:cNvPr>
          <p:cNvSpPr>
            <a:spLocks noGrp="1"/>
          </p:cNvSpPr>
          <p:nvPr>
            <p:ph type="body" sz="quarter" idx="24" hasCustomPrompt="1"/>
          </p:nvPr>
        </p:nvSpPr>
        <p:spPr>
          <a:xfrm>
            <a:off x="8575220" y="1653663"/>
            <a:ext cx="3121480" cy="640175"/>
          </a:xfrm>
          <a:prstGeom prst="rect">
            <a:avLst/>
          </a:prstGeom>
        </p:spPr>
        <p:txBody>
          <a:bodyPr anchor="t">
            <a:spAutoFit/>
          </a:bodyPr>
          <a:lstStyle>
            <a:lvl1pPr>
              <a:defRPr>
                <a:solidFill>
                  <a:schemeClr val="bg1"/>
                </a:solidFill>
              </a:defRPr>
            </a:lvl1pPr>
            <a:lvl2pPr marL="88900" indent="-88900">
              <a:buFont typeface="Arial" panose="020B0604020202020204" pitchFamily="34" charset="0"/>
              <a:buChar char=" "/>
              <a:defRPr>
                <a:solidFill>
                  <a:schemeClr val="bg1"/>
                </a:solidFill>
              </a:defRPr>
            </a:lvl2pPr>
          </a:lstStyle>
          <a:p>
            <a:pPr lvl="0"/>
            <a:r>
              <a:rPr lang="en-GB" dirty="0"/>
              <a:t>NAME</a:t>
            </a:r>
          </a:p>
          <a:p>
            <a:pPr lvl="1"/>
            <a:r>
              <a:rPr lang="en-GB" dirty="0"/>
              <a:t>Function</a:t>
            </a:r>
          </a:p>
        </p:txBody>
      </p:sp>
      <p:pic>
        <p:nvPicPr>
          <p:cNvPr id="22" name="Graphique 21">
            <a:extLst>
              <a:ext uri="{FF2B5EF4-FFF2-40B4-BE49-F238E27FC236}">
                <a16:creationId xmlns:a16="http://schemas.microsoft.com/office/drawing/2014/main" id="{51899836-D62E-4313-A8AB-0C1D11AC6FD6}"/>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255164" y="6135730"/>
            <a:ext cx="549900" cy="495918"/>
          </a:xfrm>
          <a:prstGeom prst="rect">
            <a:avLst/>
          </a:prstGeom>
        </p:spPr>
      </p:pic>
      <p:sp>
        <p:nvSpPr>
          <p:cNvPr id="4" name="Titre 3">
            <a:extLst>
              <a:ext uri="{FF2B5EF4-FFF2-40B4-BE49-F238E27FC236}">
                <a16:creationId xmlns:a16="http://schemas.microsoft.com/office/drawing/2014/main" id="{655BB120-DEC8-4862-A749-F95DCFBBD8A3}"/>
              </a:ext>
            </a:extLst>
          </p:cNvPr>
          <p:cNvSpPr>
            <a:spLocks noGrp="1"/>
          </p:cNvSpPr>
          <p:nvPr>
            <p:ph type="title" hasCustomPrompt="1"/>
          </p:nvPr>
        </p:nvSpPr>
        <p:spPr/>
        <p:txBody>
          <a:bodyPr/>
          <a:lstStyle>
            <a:lvl1pPr>
              <a:defRPr>
                <a:solidFill>
                  <a:schemeClr val="bg1"/>
                </a:solidFill>
              </a:defRPr>
            </a:lvl1pPr>
          </a:lstStyle>
          <a:p>
            <a:r>
              <a:rPr lang="fr-FR" dirty="0"/>
              <a:t>TITLE OF THE SLIDE</a:t>
            </a:r>
          </a:p>
        </p:txBody>
      </p:sp>
      <p:sp>
        <p:nvSpPr>
          <p:cNvPr id="21" name="Espace réservé du numéro de diapositive 2">
            <a:extLst>
              <a:ext uri="{FF2B5EF4-FFF2-40B4-BE49-F238E27FC236}">
                <a16:creationId xmlns:a16="http://schemas.microsoft.com/office/drawing/2014/main" id="{884DC4C2-9D2C-4842-A411-C03316909904}"/>
              </a:ext>
            </a:extLst>
          </p:cNvPr>
          <p:cNvSpPr>
            <a:spLocks noGrp="1"/>
          </p:cNvSpPr>
          <p:nvPr>
            <p:ph type="sldNum" sz="quarter" idx="25"/>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23" name="Espace réservé du pied de page 4">
            <a:extLst>
              <a:ext uri="{FF2B5EF4-FFF2-40B4-BE49-F238E27FC236}">
                <a16:creationId xmlns:a16="http://schemas.microsoft.com/office/drawing/2014/main" id="{80203216-1526-40D8-82F2-453F753FA3DB}"/>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19" name="Text Placeholder 8">
            <a:extLst>
              <a:ext uri="{FF2B5EF4-FFF2-40B4-BE49-F238E27FC236}">
                <a16:creationId xmlns:a16="http://schemas.microsoft.com/office/drawing/2014/main" id="{2B73FA08-BEBA-4849-818A-CAA0CE59A661}"/>
              </a:ext>
            </a:extLst>
          </p:cNvPr>
          <p:cNvSpPr>
            <a:spLocks noGrp="1"/>
          </p:cNvSpPr>
          <p:nvPr>
            <p:ph type="body" sz="quarter" idx="18"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15" name="Cadre 14">
            <a:extLst>
              <a:ext uri="{FF2B5EF4-FFF2-40B4-BE49-F238E27FC236}">
                <a16:creationId xmlns:a16="http://schemas.microsoft.com/office/drawing/2014/main" id="{FF22C7FD-AB94-474F-A263-6F71CCCBCD75}"/>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779313888"/>
      </p:ext>
    </p:extLst>
  </p:cSld>
  <p:clrMapOvr>
    <a:masterClrMapping/>
  </p:clrMapOvr>
  <p:extLst>
    <p:ext uri="{DCECCB84-F9BA-43D5-87BE-67443E8EF086}">
      <p15:sldGuideLst xmlns:p15="http://schemas.microsoft.com/office/powerpoint/2012/main">
        <p15:guide id="1" orient="horz" pos="232" userDrawn="1">
          <p15:clr>
            <a:srgbClr val="F26B43"/>
          </p15:clr>
        </p15:guide>
        <p15:guide id="2" orient="horz" pos="613">
          <p15:clr>
            <a:srgbClr val="F26B43"/>
          </p15:clr>
        </p15:guide>
        <p15:guide id="3" pos="247">
          <p15:clr>
            <a:srgbClr val="F26B43"/>
          </p15:clr>
        </p15:guide>
        <p15:guide id="4" pos="7424">
          <p15:clr>
            <a:srgbClr val="F26B43"/>
          </p15:clr>
        </p15:guide>
        <p15:guide id="5" orient="horz" pos="3906" userDrawn="1">
          <p15:clr>
            <a:srgbClr val="F26B43"/>
          </p15:clr>
        </p15:guide>
        <p15:guide id="6" orient="horz" pos="4156" userDrawn="1">
          <p15:clr>
            <a:srgbClr val="F26B43"/>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fld id="{D61AABEC-672F-4B68-B914-690DA978312C}" type="slidenum">
              <a:rPr lang="en-GB" smtClean="0"/>
              <a:pPr/>
              <a:t>‹#›</a:t>
            </a:fld>
            <a:r>
              <a:rPr lang="en-GB" dirty="0"/>
              <a:t> ‒ </a:t>
            </a:r>
          </a:p>
        </p:txBody>
      </p:sp>
      <p:sp>
        <p:nvSpPr>
          <p:cNvPr id="4" name="Text Placeholder 8">
            <a:extLst>
              <a:ext uri="{FF2B5EF4-FFF2-40B4-BE49-F238E27FC236}">
                <a16:creationId xmlns:a16="http://schemas.microsoft.com/office/drawing/2014/main" id="{A59EA477-4D96-4C94-A268-87C2D94F0851}"/>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
        <p:nvSpPr>
          <p:cNvPr id="5" name="Cadre 4">
            <a:extLst>
              <a:ext uri="{FF2B5EF4-FFF2-40B4-BE49-F238E27FC236}">
                <a16:creationId xmlns:a16="http://schemas.microsoft.com/office/drawing/2014/main" id="{3DF33BB3-DE83-4590-A4FA-9BC48FEB225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3079198075"/>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a:xfrm>
            <a:off x="-1" y="0"/>
            <a:ext cx="59879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Espace réservé du numéro de diapositive 2">
            <a:extLst>
              <a:ext uri="{FF2B5EF4-FFF2-40B4-BE49-F238E27FC236}">
                <a16:creationId xmlns:a16="http://schemas.microsoft.com/office/drawing/2014/main" id="{4E9F0883-33F3-4D62-A0A5-04FAA00189A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8" name="Espace réservé du pied de page 4">
            <a:extLst>
              <a:ext uri="{FF2B5EF4-FFF2-40B4-BE49-F238E27FC236}">
                <a16:creationId xmlns:a16="http://schemas.microsoft.com/office/drawing/2014/main" id="{7CE4141A-CB17-4D34-9EF4-654584A2F66C}"/>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 | Doc Name</a:t>
            </a:r>
          </a:p>
        </p:txBody>
      </p:sp>
      <p:sp>
        <p:nvSpPr>
          <p:cNvPr id="7" name="Cadre 6">
            <a:extLst>
              <a:ext uri="{FF2B5EF4-FFF2-40B4-BE49-F238E27FC236}">
                <a16:creationId xmlns:a16="http://schemas.microsoft.com/office/drawing/2014/main" id="{DDD157D2-6F21-42E5-B4EA-1247BDAA6263}"/>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53389461"/>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Visual on the right">
    <p:spTree>
      <p:nvGrpSpPr>
        <p:cNvPr id="1" name=""/>
        <p:cNvGrpSpPr/>
        <p:nvPr/>
      </p:nvGrpSpPr>
      <p:grpSpPr>
        <a:xfrm>
          <a:off x="0" y="0"/>
          <a:ext cx="0" cy="0"/>
          <a:chOff x="0" y="0"/>
          <a:chExt cx="0" cy="0"/>
        </a:xfrm>
      </p:grpSpPr>
      <p:sp>
        <p:nvSpPr>
          <p:cNvPr id="7" name="Espace réservé pour une image  6">
            <a:extLst>
              <a:ext uri="{FF2B5EF4-FFF2-40B4-BE49-F238E27FC236}">
                <a16:creationId xmlns:a16="http://schemas.microsoft.com/office/drawing/2014/main" id="{7B4C045D-983E-4F2B-8857-9216B119E081}"/>
              </a:ext>
            </a:extLst>
          </p:cNvPr>
          <p:cNvSpPr>
            <a:spLocks noGrp="1"/>
          </p:cNvSpPr>
          <p:nvPr>
            <p:ph type="pic" sz="quarter" idx="13" hasCustomPrompt="1"/>
          </p:nvPr>
        </p:nvSpPr>
        <p:spPr>
          <a:xfrm>
            <a:off x="5123892" y="113568"/>
            <a:ext cx="6954540" cy="6630864"/>
          </a:xfrm>
          <a:custGeom>
            <a:avLst/>
            <a:gdLst>
              <a:gd name="connsiteX0" fmla="*/ 0 w 6954540"/>
              <a:gd name="connsiteY0" fmla="*/ 0 h 6630864"/>
              <a:gd name="connsiteX1" fmla="*/ 6954540 w 6954540"/>
              <a:gd name="connsiteY1" fmla="*/ 0 h 6630864"/>
              <a:gd name="connsiteX2" fmla="*/ 6954540 w 6954540"/>
              <a:gd name="connsiteY2" fmla="*/ 6630864 h 6630864"/>
              <a:gd name="connsiteX3" fmla="*/ 0 w 6954540"/>
              <a:gd name="connsiteY3" fmla="*/ 6630864 h 6630864"/>
            </a:gdLst>
            <a:ahLst/>
            <a:cxnLst>
              <a:cxn ang="0">
                <a:pos x="connsiteX0" y="connsiteY0"/>
              </a:cxn>
              <a:cxn ang="0">
                <a:pos x="connsiteX1" y="connsiteY1"/>
              </a:cxn>
              <a:cxn ang="0">
                <a:pos x="connsiteX2" y="connsiteY2"/>
              </a:cxn>
              <a:cxn ang="0">
                <a:pos x="connsiteX3" y="connsiteY3"/>
              </a:cxn>
            </a:cxnLst>
            <a:rect l="l" t="t" r="r" b="b"/>
            <a:pathLst>
              <a:path w="6954540" h="6630864">
                <a:moveTo>
                  <a:pt x="0" y="0"/>
                </a:moveTo>
                <a:lnTo>
                  <a:pt x="6954540" y="0"/>
                </a:lnTo>
                <a:lnTo>
                  <a:pt x="6954540" y="6630864"/>
                </a:lnTo>
                <a:lnTo>
                  <a:pt x="0" y="6630864"/>
                </a:lnTo>
                <a:close/>
              </a:path>
            </a:pathLst>
          </a:custGeom>
          <a:solidFill>
            <a:schemeClr val="bg1">
              <a:lumMod val="95000"/>
            </a:schemeClr>
          </a:solidFill>
        </p:spPr>
        <p:txBody>
          <a:bodyPr wrap="square">
            <a:noAutofit/>
          </a:body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D61AABEC-672F-4B68-B914-690DA978312C}" type="slidenum">
              <a:rPr lang="en-GB" smtClean="0"/>
              <a:pPr/>
              <a:t>‹#›</a:t>
            </a:fld>
            <a:r>
              <a:rPr lang="en-GB" dirty="0"/>
              <a:t> ‒ </a:t>
            </a:r>
          </a:p>
        </p:txBody>
      </p:sp>
      <p:sp>
        <p:nvSpPr>
          <p:cNvPr id="5" name="Text Placeholder 8">
            <a:extLst>
              <a:ext uri="{FF2B5EF4-FFF2-40B4-BE49-F238E27FC236}">
                <a16:creationId xmlns:a16="http://schemas.microsoft.com/office/drawing/2014/main" id="{0FDE419E-CB0C-43DC-A5A5-526480C8B10D}"/>
              </a:ext>
            </a:extLst>
          </p:cNvPr>
          <p:cNvSpPr>
            <a:spLocks noGrp="1"/>
          </p:cNvSpPr>
          <p:nvPr>
            <p:ph type="body" sz="quarter" idx="24"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dirty="0"/>
              <a:t>Sources:</a:t>
            </a:r>
          </a:p>
        </p:txBody>
      </p:sp>
    </p:spTree>
    <p:extLst>
      <p:ext uri="{BB962C8B-B14F-4D97-AF65-F5344CB8AC3E}">
        <p14:creationId xmlns:p14="http://schemas.microsoft.com/office/powerpoint/2010/main" val="183960967"/>
      </p:ext>
    </p:extLst>
  </p:cSld>
  <p:clrMapOvr>
    <a:masterClrMapping/>
  </p:clrMapOvr>
  <p:extLst>
    <p:ext uri="{DCECCB84-F9BA-43D5-87BE-67443E8EF086}">
      <p15:sldGuideLst xmlns:p15="http://schemas.microsoft.com/office/powerpoint/2012/main">
        <p15:guide id="1" orient="horz" pos="3906" userDrawn="1">
          <p15:clr>
            <a:srgbClr val="F26B43"/>
          </p15:clr>
        </p15:guide>
        <p15:guide id="2" orient="horz" pos="4156" userDrawn="1">
          <p15:clr>
            <a:srgbClr val="F26B43"/>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extLst>
              <p:ext uri="{D42A27DB-BD31-4B8C-83A1-F6EECF244321}">
                <p14:modId xmlns:p14="http://schemas.microsoft.com/office/powerpoint/2010/main" val="21210454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96" name="Diapositive think-cell" r:id="rId4" imgW="532" imgH="530" progId="TCLayout.ActiveDocument.1">
                  <p:embed/>
                </p:oleObj>
              </mc:Choice>
              <mc:Fallback>
                <p:oleObj name="Diapositive think-cell" r:id="rId4" imgW="532" imgH="53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Image 8" descr="Une image contenant objet&#10;&#10;Description générée automatiquement">
            <a:extLst>
              <a:ext uri="{FF2B5EF4-FFF2-40B4-BE49-F238E27FC236}">
                <a16:creationId xmlns:a16="http://schemas.microsoft.com/office/drawing/2014/main" id="{7AB34238-B7E0-4612-92CE-C4989B35C07E}"/>
              </a:ext>
            </a:extLst>
          </p:cNvPr>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pic>
        <p:nvPicPr>
          <p:cNvPr id="7" name="Graphique 12">
            <a:extLst>
              <a:ext uri="{FF2B5EF4-FFF2-40B4-BE49-F238E27FC236}">
                <a16:creationId xmlns:a16="http://schemas.microsoft.com/office/drawing/2014/main" id="{4A97E8AF-E7A3-48CB-93FA-FB7ABD189EEE}"/>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8" name="Cadre 7">
            <a:extLst>
              <a:ext uri="{FF2B5EF4-FFF2-40B4-BE49-F238E27FC236}">
                <a16:creationId xmlns:a16="http://schemas.microsoft.com/office/drawing/2014/main" id="{2477EA9A-3073-4EA7-A4DD-B3342BEE6CC1}"/>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248926946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Thanks 1">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extLst>
              <p:ext uri="{D42A27DB-BD31-4B8C-83A1-F6EECF244321}">
                <p14:modId xmlns:p14="http://schemas.microsoft.com/office/powerpoint/2010/main" val="2677157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234"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id="{F8221D8A-EA7F-4431-BA65-C4F6154E8931}"/>
              </a:ext>
            </a:extLst>
          </p:cNvPr>
          <p:cNvPicPr>
            <a:picLocks noChangeAspect="1"/>
          </p:cNvPicPr>
          <p:nvPr userDrawn="1"/>
        </p:nvPicPr>
        <p:blipFill rotWithShape="1">
          <a:blip r:embed="rId6">
            <a:biLevel thresh="25000"/>
            <a:extLs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20" name="ZoneTexte 19">
            <a:extLst>
              <a:ext uri="{FF2B5EF4-FFF2-40B4-BE49-F238E27FC236}">
                <a16:creationId xmlns:a16="http://schemas.microsoft.com/office/drawing/2014/main" id="{6EB9C8AA-305A-4586-B066-7FD90B345C8E}"/>
              </a:ext>
            </a:extLst>
          </p:cNvPr>
          <p:cNvSpPr txBox="1"/>
          <p:nvPr userDrawn="1"/>
        </p:nvSpPr>
        <p:spPr>
          <a:xfrm>
            <a:off x="613346" y="2014987"/>
            <a:ext cx="3250405" cy="1116124"/>
          </a:xfrm>
          <a:prstGeom prst="rect">
            <a:avLst/>
          </a:prstGeom>
          <a:solidFill>
            <a:schemeClr val="tx2"/>
          </a:solidFill>
        </p:spPr>
        <p:txBody>
          <a:bodyPr wrap="square" lIns="180000" rIns="180000" rtlCol="0">
            <a:noAutofit/>
          </a:bodyPr>
          <a:lstStyle/>
          <a:p>
            <a:pPr algn="ctr"/>
            <a:r>
              <a:rPr lang="fr-FR" sz="7200" b="1" dirty="0">
                <a:solidFill>
                  <a:schemeClr val="bg1"/>
                </a:solidFill>
                <a:latin typeface="+mn-lt"/>
              </a:rPr>
              <a:t>TAKK</a:t>
            </a:r>
          </a:p>
        </p:txBody>
      </p:sp>
      <p:pic>
        <p:nvPicPr>
          <p:cNvPr id="9" name="Graphique 12">
            <a:extLst>
              <a:ext uri="{FF2B5EF4-FFF2-40B4-BE49-F238E27FC236}">
                <a16:creationId xmlns:a16="http://schemas.microsoft.com/office/drawing/2014/main" id="{179AD86B-4CB0-4369-A2E2-E512D4A8BC32}"/>
              </a:ext>
            </a:extLst>
          </p:cNvPr>
          <p:cNvPicPr>
            <a:picLocks noChangeAspect="1"/>
          </p:cNvPicPr>
          <p:nvPr userDrawn="1"/>
        </p:nvPicPr>
        <p:blipFill>
          <a:blip r:embed="rId7">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1" name="Cadre 10">
            <a:extLst>
              <a:ext uri="{FF2B5EF4-FFF2-40B4-BE49-F238E27FC236}">
                <a16:creationId xmlns:a16="http://schemas.microsoft.com/office/drawing/2014/main" id="{F945265E-2B42-4452-B3C5-C3D6662D38A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66248414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Thanks 2">
    <p:bg>
      <p:bgPr>
        <a:solidFill>
          <a:schemeClr val="bg2"/>
        </a:solid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8866C9DA-1390-4B1C-A5FA-DA3341B92160}"/>
              </a:ext>
            </a:extLst>
          </p:cNvPr>
          <p:cNvGraphicFramePr>
            <a:graphicFrameLocks noChangeAspect="1"/>
          </p:cNvGraphicFramePr>
          <p:nvPr userDrawn="1">
            <p:custDataLst>
              <p:tags r:id="rId2"/>
            </p:custDataLst>
            <p:extLst>
              <p:ext uri="{D42A27DB-BD31-4B8C-83A1-F6EECF244321}">
                <p14:modId xmlns:p14="http://schemas.microsoft.com/office/powerpoint/2010/main" val="1192412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7113"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8866C9DA-1390-4B1C-A5FA-DA3341B921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Forme libre : forme 28">
            <a:extLst>
              <a:ext uri="{FF2B5EF4-FFF2-40B4-BE49-F238E27FC236}">
                <a16:creationId xmlns:a16="http://schemas.microsoft.com/office/drawing/2014/main" id="{7F299C1D-1251-47CF-8DC0-0B896E12FCE0}"/>
              </a:ext>
            </a:extLst>
          </p:cNvPr>
          <p:cNvSpPr/>
          <p:nvPr userDrawn="1"/>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1" name="Forme libre : forme 30">
            <a:extLst>
              <a:ext uri="{FF2B5EF4-FFF2-40B4-BE49-F238E27FC236}">
                <a16:creationId xmlns:a16="http://schemas.microsoft.com/office/drawing/2014/main" id="{C687F725-9BAA-4FDE-BF5B-B39EF6EA033C}"/>
              </a:ext>
            </a:extLst>
          </p:cNvPr>
          <p:cNvSpPr/>
          <p:nvPr userDrawn="1"/>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4" name="Image 13" descr="Une image contenant objet&#10;&#10;Description générée automatiquement">
            <a:extLst>
              <a:ext uri="{FF2B5EF4-FFF2-40B4-BE49-F238E27FC236}">
                <a16:creationId xmlns:a16="http://schemas.microsoft.com/office/drawing/2014/main" id="{99BF86A5-F0B8-42C9-A87E-16C8B6F68080}"/>
              </a:ext>
            </a:extLst>
          </p:cNvPr>
          <p:cNvPicPr>
            <a:picLocks noChangeAspect="1"/>
          </p:cNvPicPr>
          <p:nvPr userDrawn="1"/>
        </p:nvPicPr>
        <p:blipFill rotWithShape="1">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r="23242"/>
          <a:stretch/>
        </p:blipFill>
        <p:spPr>
          <a:xfrm>
            <a:off x="7680176" y="5467579"/>
            <a:ext cx="2802864" cy="649976"/>
          </a:xfrm>
          <a:prstGeom prst="rect">
            <a:avLst/>
          </a:prstGeom>
        </p:spPr>
      </p:pic>
      <p:sp>
        <p:nvSpPr>
          <p:cNvPr id="33" name="Rectangle 32">
            <a:extLst>
              <a:ext uri="{FF2B5EF4-FFF2-40B4-BE49-F238E27FC236}">
                <a16:creationId xmlns:a16="http://schemas.microsoft.com/office/drawing/2014/main" id="{F679F638-3664-4A3D-B3CC-1AE9AB09B32C}"/>
              </a:ext>
            </a:extLst>
          </p:cNvPr>
          <p:cNvSpPr/>
          <p:nvPr userDrawn="1"/>
        </p:nvSpPr>
        <p:spPr>
          <a:xfrm>
            <a:off x="613347" y="2022491"/>
            <a:ext cx="3322414" cy="11161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nvGrpSpPr>
          <p:cNvPr id="34" name="Groupe 33">
            <a:extLst>
              <a:ext uri="{FF2B5EF4-FFF2-40B4-BE49-F238E27FC236}">
                <a16:creationId xmlns:a16="http://schemas.microsoft.com/office/drawing/2014/main" id="{113FDBA7-5D27-421C-85B6-3FA82D4FF202}"/>
              </a:ext>
            </a:extLst>
          </p:cNvPr>
          <p:cNvGrpSpPr/>
          <p:nvPr userDrawn="1"/>
        </p:nvGrpSpPr>
        <p:grpSpPr>
          <a:xfrm>
            <a:off x="697167" y="1903445"/>
            <a:ext cx="3141104" cy="1354217"/>
            <a:chOff x="794460" y="1664804"/>
            <a:chExt cx="3141104" cy="1354217"/>
          </a:xfrm>
        </p:grpSpPr>
        <p:sp>
          <p:nvSpPr>
            <p:cNvPr id="36" name="TextBox 12">
              <a:extLst>
                <a:ext uri="{FF2B5EF4-FFF2-40B4-BE49-F238E27FC236}">
                  <a16:creationId xmlns:a16="http://schemas.microsoft.com/office/drawing/2014/main" id="{6DBE849B-11CF-4A64-8448-70B62EB6CF22}"/>
                </a:ext>
              </a:extLst>
            </p:cNvPr>
            <p:cNvSpPr txBox="1">
              <a:spLocks/>
            </p:cNvSpPr>
            <p:nvPr userDrawn="1"/>
          </p:nvSpPr>
          <p:spPr>
            <a:xfrm>
              <a:off x="794460"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T</a:t>
              </a:r>
            </a:p>
          </p:txBody>
        </p:sp>
        <p:sp>
          <p:nvSpPr>
            <p:cNvPr id="37" name="TextBox 12">
              <a:extLst>
                <a:ext uri="{FF2B5EF4-FFF2-40B4-BE49-F238E27FC236}">
                  <a16:creationId xmlns:a16="http://schemas.microsoft.com/office/drawing/2014/main" id="{A243C84E-50CC-4C5F-B7D5-5A14645EA45A}"/>
                </a:ext>
              </a:extLst>
            </p:cNvPr>
            <p:cNvSpPr txBox="1">
              <a:spLocks/>
            </p:cNvSpPr>
            <p:nvPr userDrawn="1"/>
          </p:nvSpPr>
          <p:spPr>
            <a:xfrm>
              <a:off x="1550687"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A</a:t>
              </a:r>
            </a:p>
          </p:txBody>
        </p:sp>
        <p:sp>
          <p:nvSpPr>
            <p:cNvPr id="38" name="TextBox 12">
              <a:extLst>
                <a:ext uri="{FF2B5EF4-FFF2-40B4-BE49-F238E27FC236}">
                  <a16:creationId xmlns:a16="http://schemas.microsoft.com/office/drawing/2014/main" id="{4DE2360C-0138-43FB-88B6-A916D5FF6C06}"/>
                </a:ext>
              </a:extLst>
            </p:cNvPr>
            <p:cNvSpPr txBox="1">
              <a:spLocks/>
            </p:cNvSpPr>
            <p:nvPr userDrawn="1"/>
          </p:nvSpPr>
          <p:spPr>
            <a:xfrm>
              <a:off x="2356918"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K</a:t>
              </a:r>
            </a:p>
          </p:txBody>
        </p:sp>
        <p:sp>
          <p:nvSpPr>
            <p:cNvPr id="16" name="TextBox 12">
              <a:extLst>
                <a:ext uri="{FF2B5EF4-FFF2-40B4-BE49-F238E27FC236}">
                  <a16:creationId xmlns:a16="http://schemas.microsoft.com/office/drawing/2014/main" id="{2DF71DA4-98CD-454B-B3E1-EFAF31A3C876}"/>
                </a:ext>
              </a:extLst>
            </p:cNvPr>
            <p:cNvSpPr txBox="1">
              <a:spLocks/>
            </p:cNvSpPr>
            <p:nvPr userDrawn="1"/>
          </p:nvSpPr>
          <p:spPr>
            <a:xfrm>
              <a:off x="3121239" y="1664804"/>
              <a:ext cx="814325" cy="1354217"/>
            </a:xfrm>
            <a:prstGeom prst="rect">
              <a:avLst/>
            </a:prstGeom>
            <a:noFill/>
          </p:spPr>
          <p:txBody>
            <a:bodyPr wrap="none" lIns="0" tIns="0" rIns="0" bIns="0" rtlCol="0" anchor="ctr">
              <a:noAutofit/>
            </a:bodyPr>
            <a:lstStyle/>
            <a:p>
              <a:pPr algn="ctr"/>
              <a:r>
                <a:rPr lang="en-GB" sz="8000" b="1" dirty="0">
                  <a:blipFill>
                    <a:blip r:embed="rId8"/>
                    <a:stretch>
                      <a:fillRect/>
                    </a:stretch>
                  </a:blipFill>
                </a:rPr>
                <a:t>K</a:t>
              </a:r>
            </a:p>
          </p:txBody>
        </p:sp>
      </p:grpSp>
      <p:pic>
        <p:nvPicPr>
          <p:cNvPr id="15" name="Graphique 12">
            <a:extLst>
              <a:ext uri="{FF2B5EF4-FFF2-40B4-BE49-F238E27FC236}">
                <a16:creationId xmlns:a16="http://schemas.microsoft.com/office/drawing/2014/main" id="{9A6E24CF-8D33-4CD9-8F42-13A4AED0D589}"/>
              </a:ext>
            </a:extLst>
          </p:cNvPr>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
        <p:nvSpPr>
          <p:cNvPr id="13" name="Cadre 12">
            <a:extLst>
              <a:ext uri="{FF2B5EF4-FFF2-40B4-BE49-F238E27FC236}">
                <a16:creationId xmlns:a16="http://schemas.microsoft.com/office/drawing/2014/main" id="{DD99AA5A-3B38-4496-8080-775E9B06BE0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4248980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_Chapter_3">
    <p:bg>
      <p:bgPr>
        <a:blipFill dpi="0" rotWithShape="1">
          <a:blip r:embed="rId5">
            <a:lum/>
          </a:blip>
          <a:srcRect/>
          <a:stretch>
            <a:fillRect t="-8000" b="-8000"/>
          </a:stretch>
        </a:blipFill>
        <a:effectLst/>
      </p:bgPr>
    </p:bg>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493" name="Diapositive think-cell" r:id="rId6" imgW="532" imgH="530" progId="TCLayout.ActiveDocument.1">
                  <p:embed/>
                </p:oleObj>
              </mc:Choice>
              <mc:Fallback>
                <p:oleObj name="Diapositive think-cell" r:id="rId6"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828892" y="3287"/>
            <a:ext cx="2231701" cy="4067267"/>
          </a:xfrm>
          <a:prstGeom prst="rect">
            <a:avLst/>
          </a:prstGeom>
        </p:spPr>
        <p:txBody>
          <a:bodyPr wrap="none">
            <a:spAutoFit/>
          </a:bodyPr>
          <a:lstStyle>
            <a:lvl1pPr marL="0" indent="0">
              <a:buNone/>
              <a:defRPr sz="28700" b="1">
                <a:solidFill>
                  <a:schemeClr val="bg1"/>
                </a:solidFill>
              </a:defRPr>
            </a:lvl1pPr>
          </a:lstStyle>
          <a:p>
            <a:pPr lvl="0"/>
            <a:r>
              <a:rPr lang="en-GB" dirty="0"/>
              <a:t>0</a:t>
            </a: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effectLst>
                  <a:outerShdw blurRad="38100" dist="38100" dir="2700000" algn="tl">
                    <a:srgbClr val="000000">
                      <a:alpha val="43137"/>
                    </a:srgbClr>
                  </a:outerShdw>
                </a:effectLst>
                <a:latin typeface="+mj-lt"/>
              </a:defRPr>
            </a:lvl1pPr>
          </a:lstStyle>
          <a:p>
            <a:r>
              <a:rPr lang="en-GB" dirty="0"/>
              <a:t>Title of the chapter</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effectLst>
                  <a:outerShdw blurRad="38100" dist="38100" dir="2700000" algn="tl">
                    <a:srgbClr val="000000">
                      <a:alpha val="43137"/>
                    </a:srgbClr>
                  </a:outerShdw>
                </a:effectLs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pic>
        <p:nvPicPr>
          <p:cNvPr id="10" name="Graphique 8">
            <a:extLst>
              <a:ext uri="{FF2B5EF4-FFF2-40B4-BE49-F238E27FC236}">
                <a16:creationId xmlns:a16="http://schemas.microsoft.com/office/drawing/2014/main" id="{12566D07-C10F-4149-9D24-43409582809E}"/>
              </a:ext>
            </a:extLst>
          </p:cNvPr>
          <p:cNvPicPr>
            <a:picLocks noChangeAspect="1"/>
          </p:cNvPicPr>
          <p:nvPr userDrawn="1"/>
        </p:nvPicPr>
        <p:blipFill>
          <a:blip r:embed="rId8">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11" name="Espace réservé du numéro de diapositive 2">
            <a:extLst>
              <a:ext uri="{FF2B5EF4-FFF2-40B4-BE49-F238E27FC236}">
                <a16:creationId xmlns:a16="http://schemas.microsoft.com/office/drawing/2014/main" id="{DA7B4581-DBF3-4675-85A2-573E4F1A22C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D61AABEC-672F-4B68-B914-690DA978312C}" type="slidenum">
              <a:rPr lang="en-GB" smtClean="0"/>
              <a:pPr/>
              <a:t>‹#›</a:t>
            </a:fld>
            <a:r>
              <a:rPr lang="en-GB" dirty="0"/>
              <a:t> ‒ </a:t>
            </a:r>
          </a:p>
        </p:txBody>
      </p:sp>
      <p:sp>
        <p:nvSpPr>
          <p:cNvPr id="14" name="Espace réservé du pied de page 4">
            <a:extLst>
              <a:ext uri="{FF2B5EF4-FFF2-40B4-BE49-F238E27FC236}">
                <a16:creationId xmlns:a16="http://schemas.microsoft.com/office/drawing/2014/main" id="{9E7FCC28-2779-438A-83C5-F5B120BFA1BE}"/>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rPr>
              <a:t>© Ipsos</a:t>
            </a:r>
          </a:p>
        </p:txBody>
      </p:sp>
      <p:sp>
        <p:nvSpPr>
          <p:cNvPr id="15" name="Cadre 14">
            <a:extLst>
              <a:ext uri="{FF2B5EF4-FFF2-40B4-BE49-F238E27FC236}">
                <a16:creationId xmlns:a16="http://schemas.microsoft.com/office/drawing/2014/main" id="{02F159B8-5F8C-452A-BB13-84E84CEAF429}"/>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endParaRPr>
          </a:p>
        </p:txBody>
      </p:sp>
    </p:spTree>
    <p:extLst>
      <p:ext uri="{BB962C8B-B14F-4D97-AF65-F5344CB8AC3E}">
        <p14:creationId xmlns:p14="http://schemas.microsoft.com/office/powerpoint/2010/main" val="1298487647"/>
      </p:ext>
    </p:extLst>
  </p:cSld>
  <p:clrMapOvr>
    <a:masterClrMapping/>
  </p:clrMapOvr>
  <p:extLst>
    <p:ext uri="{DCECCB84-F9BA-43D5-87BE-67443E8EF086}">
      <p15:sldGuideLst xmlns:p15="http://schemas.microsoft.com/office/powerpoint/2012/main">
        <p15:guide id="1" orient="horz" pos="4156">
          <p15:clr>
            <a:srgbClr val="F26B43"/>
          </p15:clr>
        </p15:guide>
        <p15:guide id="2" orient="horz" pos="3906">
          <p15:clr>
            <a:srgbClr val="F26B43"/>
          </p15:clr>
        </p15:guide>
        <p15:guide id="3" pos="288">
          <p15:clr>
            <a:srgbClr val="F26B43"/>
          </p15:clr>
        </p15:guide>
        <p15:guide id="4" pos="360">
          <p15:clr>
            <a:srgbClr val="A4A3A4"/>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userDrawn="1">
  <p:cSld name="Cover_Photo">
    <p:bg>
      <p:bgPr>
        <a:solidFill>
          <a:schemeClr val="bg2"/>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EC11655-880F-43AF-AA97-11A750EA2FF7}"/>
              </a:ext>
            </a:extLst>
          </p:cNvPr>
          <p:cNvSpPr/>
          <p:nvPr userDrawn="1"/>
        </p:nvSpPr>
        <p:spPr>
          <a:xfrm>
            <a:off x="407988" y="3812870"/>
            <a:ext cx="896937" cy="2016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3" name="Rectangle 2">
            <a:extLst>
              <a:ext uri="{FF2B5EF4-FFF2-40B4-BE49-F238E27FC236}">
                <a16:creationId xmlns:a16="http://schemas.microsoft.com/office/drawing/2014/main" id="{38CE37B0-312D-4CA7-8F0F-248DA45AFA43}"/>
              </a:ext>
            </a:extLst>
          </p:cNvPr>
          <p:cNvSpPr/>
          <p:nvPr userDrawn="1"/>
        </p:nvSpPr>
        <p:spPr>
          <a:xfrm>
            <a:off x="7315200" y="4905375"/>
            <a:ext cx="4876800" cy="19526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2" name="Picture Placeholder">
            <a:extLst>
              <a:ext uri="{FF2B5EF4-FFF2-40B4-BE49-F238E27FC236}">
                <a16:creationId xmlns:a16="http://schemas.microsoft.com/office/drawing/2014/main" id="{CA3FC745-F193-4157-848D-3DCF42D82335}"/>
              </a:ext>
            </a:extLst>
          </p:cNvPr>
          <p:cNvSpPr>
            <a:spLocks noGrp="1"/>
          </p:cNvSpPr>
          <p:nvPr>
            <p:ph type="pic" sz="quarter" idx="13"/>
          </p:nvPr>
        </p:nvSpPr>
        <p:spPr>
          <a:xfrm>
            <a:off x="0" y="0"/>
            <a:ext cx="12192000" cy="6858000"/>
          </a:xfrm>
          <a:custGeom>
            <a:avLst/>
            <a:gdLst>
              <a:gd name="connsiteX0" fmla="*/ 9241634 w 12192000"/>
              <a:gd name="connsiteY0" fmla="*/ 5848905 h 6858000"/>
              <a:gd name="connsiteX1" fmla="*/ 9268904 w 12192000"/>
              <a:gd name="connsiteY1" fmla="*/ 5928225 h 6858000"/>
              <a:gd name="connsiteX2" fmla="*/ 9213492 w 12192000"/>
              <a:gd name="connsiteY2" fmla="*/ 5928225 h 6858000"/>
              <a:gd name="connsiteX3" fmla="*/ 8032300 w 12192000"/>
              <a:gd name="connsiteY3" fmla="*/ 5848905 h 6858000"/>
              <a:gd name="connsiteX4" fmla="*/ 8059570 w 12192000"/>
              <a:gd name="connsiteY4" fmla="*/ 5928225 h 6858000"/>
              <a:gd name="connsiteX5" fmla="*/ 8003536 w 12192000"/>
              <a:gd name="connsiteY5" fmla="*/ 5928225 h 6858000"/>
              <a:gd name="connsiteX6" fmla="*/ 10063464 w 12192000"/>
              <a:gd name="connsiteY6" fmla="*/ 5832591 h 6858000"/>
              <a:gd name="connsiteX7" fmla="*/ 10115389 w 12192000"/>
              <a:gd name="connsiteY7" fmla="*/ 5832591 h 6858000"/>
              <a:gd name="connsiteX8" fmla="*/ 10148137 w 12192000"/>
              <a:gd name="connsiteY8" fmla="*/ 5862602 h 6858000"/>
              <a:gd name="connsiteX9" fmla="*/ 10115389 w 12192000"/>
              <a:gd name="connsiteY9" fmla="*/ 5893483 h 6858000"/>
              <a:gd name="connsiteX10" fmla="*/ 10063464 w 12192000"/>
              <a:gd name="connsiteY10" fmla="*/ 5893483 h 6858000"/>
              <a:gd name="connsiteX11" fmla="*/ 10136682 w 12192000"/>
              <a:gd name="connsiteY11" fmla="*/ 5796232 h 6858000"/>
              <a:gd name="connsiteX12" fmla="*/ 10132448 w 12192000"/>
              <a:gd name="connsiteY12" fmla="*/ 5796356 h 6858000"/>
              <a:gd name="connsiteX13" fmla="*/ 10015897 w 12192000"/>
              <a:gd name="connsiteY13" fmla="*/ 5796356 h 6858000"/>
              <a:gd name="connsiteX14" fmla="*/ 10015897 w 12192000"/>
              <a:gd name="connsiteY14" fmla="*/ 6011653 h 6858000"/>
              <a:gd name="connsiteX15" fmla="*/ 10063464 w 12192000"/>
              <a:gd name="connsiteY15" fmla="*/ 6011653 h 6858000"/>
              <a:gd name="connsiteX16" fmla="*/ 10063464 w 12192000"/>
              <a:gd name="connsiteY16" fmla="*/ 5927352 h 6858000"/>
              <a:gd name="connsiteX17" fmla="*/ 10110906 w 12192000"/>
              <a:gd name="connsiteY17" fmla="*/ 5927352 h 6858000"/>
              <a:gd name="connsiteX18" fmla="*/ 10146891 w 12192000"/>
              <a:gd name="connsiteY18" fmla="*/ 5959976 h 6858000"/>
              <a:gd name="connsiteX19" fmla="*/ 10154487 w 12192000"/>
              <a:gd name="connsiteY19" fmla="*/ 6011653 h 6858000"/>
              <a:gd name="connsiteX20" fmla="*/ 10201929 w 12192000"/>
              <a:gd name="connsiteY20" fmla="*/ 6011653 h 6858000"/>
              <a:gd name="connsiteX21" fmla="*/ 10192840 w 12192000"/>
              <a:gd name="connsiteY21" fmla="*/ 5960599 h 6858000"/>
              <a:gd name="connsiteX22" fmla="*/ 10161460 w 12192000"/>
              <a:gd name="connsiteY22" fmla="*/ 5910044 h 6858000"/>
              <a:gd name="connsiteX23" fmla="*/ 10195579 w 12192000"/>
              <a:gd name="connsiteY23" fmla="*/ 5855878 h 6858000"/>
              <a:gd name="connsiteX24" fmla="*/ 10136682 w 12192000"/>
              <a:gd name="connsiteY24" fmla="*/ 5796232 h 6858000"/>
              <a:gd name="connsiteX25" fmla="*/ 9366154 w 12192000"/>
              <a:gd name="connsiteY25" fmla="*/ 5795735 h 6858000"/>
              <a:gd name="connsiteX26" fmla="*/ 9366154 w 12192000"/>
              <a:gd name="connsiteY26" fmla="*/ 6011653 h 6858000"/>
              <a:gd name="connsiteX27" fmla="*/ 9410608 w 12192000"/>
              <a:gd name="connsiteY27" fmla="*/ 6011653 h 6858000"/>
              <a:gd name="connsiteX28" fmla="*/ 9410608 w 12192000"/>
              <a:gd name="connsiteY28" fmla="*/ 5867084 h 6858000"/>
              <a:gd name="connsiteX29" fmla="*/ 9411230 w 12192000"/>
              <a:gd name="connsiteY29" fmla="*/ 5867084 h 6858000"/>
              <a:gd name="connsiteX30" fmla="*/ 9501134 w 12192000"/>
              <a:gd name="connsiteY30" fmla="*/ 6011653 h 6858000"/>
              <a:gd name="connsiteX31" fmla="*/ 9548576 w 12192000"/>
              <a:gd name="connsiteY31" fmla="*/ 6011653 h 6858000"/>
              <a:gd name="connsiteX32" fmla="*/ 9548576 w 12192000"/>
              <a:gd name="connsiteY32" fmla="*/ 5795735 h 6858000"/>
              <a:gd name="connsiteX33" fmla="*/ 9504122 w 12192000"/>
              <a:gd name="connsiteY33" fmla="*/ 5795735 h 6858000"/>
              <a:gd name="connsiteX34" fmla="*/ 9504122 w 12192000"/>
              <a:gd name="connsiteY34" fmla="*/ 5940552 h 6858000"/>
              <a:gd name="connsiteX35" fmla="*/ 9503500 w 12192000"/>
              <a:gd name="connsiteY35" fmla="*/ 5940552 h 6858000"/>
              <a:gd name="connsiteX36" fmla="*/ 9413346 w 12192000"/>
              <a:gd name="connsiteY36" fmla="*/ 5795735 h 6858000"/>
              <a:gd name="connsiteX37" fmla="*/ 8934569 w 12192000"/>
              <a:gd name="connsiteY37" fmla="*/ 5795735 h 6858000"/>
              <a:gd name="connsiteX38" fmla="*/ 8934942 w 12192000"/>
              <a:gd name="connsiteY38" fmla="*/ 6011653 h 6858000"/>
              <a:gd name="connsiteX39" fmla="*/ 8982510 w 12192000"/>
              <a:gd name="connsiteY39" fmla="*/ 6011653 h 6858000"/>
              <a:gd name="connsiteX40" fmla="*/ 8982510 w 12192000"/>
              <a:gd name="connsiteY40" fmla="*/ 5918511 h 6858000"/>
              <a:gd name="connsiteX41" fmla="*/ 9069672 w 12192000"/>
              <a:gd name="connsiteY41" fmla="*/ 5918511 h 6858000"/>
              <a:gd name="connsiteX42" fmla="*/ 9069672 w 12192000"/>
              <a:gd name="connsiteY42" fmla="*/ 6011653 h 6858000"/>
              <a:gd name="connsiteX43" fmla="*/ 9117115 w 12192000"/>
              <a:gd name="connsiteY43" fmla="*/ 6011653 h 6858000"/>
              <a:gd name="connsiteX44" fmla="*/ 9117115 w 12192000"/>
              <a:gd name="connsiteY44" fmla="*/ 5795735 h 6858000"/>
              <a:gd name="connsiteX45" fmla="*/ 9069672 w 12192000"/>
              <a:gd name="connsiteY45" fmla="*/ 5795735 h 6858000"/>
              <a:gd name="connsiteX46" fmla="*/ 9069672 w 12192000"/>
              <a:gd name="connsiteY46" fmla="*/ 5878540 h 6858000"/>
              <a:gd name="connsiteX47" fmla="*/ 8982510 w 12192000"/>
              <a:gd name="connsiteY47" fmla="*/ 5878540 h 6858000"/>
              <a:gd name="connsiteX48" fmla="*/ 8982510 w 12192000"/>
              <a:gd name="connsiteY48" fmla="*/ 5795735 h 6858000"/>
              <a:gd name="connsiteX49" fmla="*/ 8157193 w 12192000"/>
              <a:gd name="connsiteY49" fmla="*/ 5795735 h 6858000"/>
              <a:gd name="connsiteX50" fmla="*/ 8156820 w 12192000"/>
              <a:gd name="connsiteY50" fmla="*/ 6011653 h 6858000"/>
              <a:gd name="connsiteX51" fmla="*/ 8201274 w 12192000"/>
              <a:gd name="connsiteY51" fmla="*/ 6011653 h 6858000"/>
              <a:gd name="connsiteX52" fmla="*/ 8201274 w 12192000"/>
              <a:gd name="connsiteY52" fmla="*/ 5860110 h 6858000"/>
              <a:gd name="connsiteX53" fmla="*/ 8254194 w 12192000"/>
              <a:gd name="connsiteY53" fmla="*/ 6011653 h 6858000"/>
              <a:gd name="connsiteX54" fmla="*/ 8290804 w 12192000"/>
              <a:gd name="connsiteY54" fmla="*/ 6011653 h 6858000"/>
              <a:gd name="connsiteX55" fmla="*/ 8343848 w 12192000"/>
              <a:gd name="connsiteY55" fmla="*/ 5858617 h 6858000"/>
              <a:gd name="connsiteX56" fmla="*/ 8343848 w 12192000"/>
              <a:gd name="connsiteY56" fmla="*/ 6011653 h 6858000"/>
              <a:gd name="connsiteX57" fmla="*/ 8388302 w 12192000"/>
              <a:gd name="connsiteY57" fmla="*/ 6011653 h 6858000"/>
              <a:gd name="connsiteX58" fmla="*/ 8388302 w 12192000"/>
              <a:gd name="connsiteY58" fmla="*/ 5795735 h 6858000"/>
              <a:gd name="connsiteX59" fmla="*/ 8321559 w 12192000"/>
              <a:gd name="connsiteY59" fmla="*/ 5795735 h 6858000"/>
              <a:gd name="connsiteX60" fmla="*/ 8274616 w 12192000"/>
              <a:gd name="connsiteY60" fmla="*/ 5944287 h 6858000"/>
              <a:gd name="connsiteX61" fmla="*/ 8224061 w 12192000"/>
              <a:gd name="connsiteY61" fmla="*/ 5795735 h 6858000"/>
              <a:gd name="connsiteX62" fmla="*/ 8008019 w 12192000"/>
              <a:gd name="connsiteY62" fmla="*/ 5795735 h 6858000"/>
              <a:gd name="connsiteX63" fmla="*/ 7925961 w 12192000"/>
              <a:gd name="connsiteY63" fmla="*/ 6011653 h 6858000"/>
              <a:gd name="connsiteX64" fmla="*/ 7974024 w 12192000"/>
              <a:gd name="connsiteY64" fmla="*/ 6011653 h 6858000"/>
              <a:gd name="connsiteX65" fmla="*/ 7991085 w 12192000"/>
              <a:gd name="connsiteY65" fmla="*/ 5963214 h 6858000"/>
              <a:gd name="connsiteX66" fmla="*/ 8071897 w 12192000"/>
              <a:gd name="connsiteY66" fmla="*/ 5963214 h 6858000"/>
              <a:gd name="connsiteX67" fmla="*/ 8087836 w 12192000"/>
              <a:gd name="connsiteY67" fmla="*/ 6011653 h 6858000"/>
              <a:gd name="connsiteX68" fmla="*/ 8137644 w 12192000"/>
              <a:gd name="connsiteY68" fmla="*/ 6011653 h 6858000"/>
              <a:gd name="connsiteX69" fmla="*/ 8056705 w 12192000"/>
              <a:gd name="connsiteY69" fmla="*/ 5795735 h 6858000"/>
              <a:gd name="connsiteX70" fmla="*/ 9819530 w 12192000"/>
              <a:gd name="connsiteY70" fmla="*/ 5795360 h 6858000"/>
              <a:gd name="connsiteX71" fmla="*/ 9819904 w 12192000"/>
              <a:gd name="connsiteY71" fmla="*/ 6011653 h 6858000"/>
              <a:gd name="connsiteX72" fmla="*/ 9983896 w 12192000"/>
              <a:gd name="connsiteY72" fmla="*/ 6011653 h 6858000"/>
              <a:gd name="connsiteX73" fmla="*/ 9983896 w 12192000"/>
              <a:gd name="connsiteY73" fmla="*/ 5971806 h 6858000"/>
              <a:gd name="connsiteX74" fmla="*/ 9867470 w 12192000"/>
              <a:gd name="connsiteY74" fmla="*/ 5971806 h 6858000"/>
              <a:gd name="connsiteX75" fmla="*/ 9867470 w 12192000"/>
              <a:gd name="connsiteY75" fmla="*/ 5918884 h 6858000"/>
              <a:gd name="connsiteX76" fmla="*/ 9972066 w 12192000"/>
              <a:gd name="connsiteY76" fmla="*/ 5918884 h 6858000"/>
              <a:gd name="connsiteX77" fmla="*/ 9972066 w 12192000"/>
              <a:gd name="connsiteY77" fmla="*/ 5881529 h 6858000"/>
              <a:gd name="connsiteX78" fmla="*/ 9867470 w 12192000"/>
              <a:gd name="connsiteY78" fmla="*/ 5881529 h 6858000"/>
              <a:gd name="connsiteX79" fmla="*/ 9867470 w 12192000"/>
              <a:gd name="connsiteY79" fmla="*/ 5835206 h 6858000"/>
              <a:gd name="connsiteX80" fmla="*/ 9981405 w 12192000"/>
              <a:gd name="connsiteY80" fmla="*/ 5835206 h 6858000"/>
              <a:gd name="connsiteX81" fmla="*/ 9981405 w 12192000"/>
              <a:gd name="connsiteY81" fmla="*/ 5795360 h 6858000"/>
              <a:gd name="connsiteX82" fmla="*/ 9218473 w 12192000"/>
              <a:gd name="connsiteY82" fmla="*/ 5795360 h 6858000"/>
              <a:gd name="connsiteX83" fmla="*/ 9136167 w 12192000"/>
              <a:gd name="connsiteY83" fmla="*/ 6011653 h 6858000"/>
              <a:gd name="connsiteX84" fmla="*/ 9183608 w 12192000"/>
              <a:gd name="connsiteY84" fmla="*/ 6011653 h 6858000"/>
              <a:gd name="connsiteX85" fmla="*/ 9201041 w 12192000"/>
              <a:gd name="connsiteY85" fmla="*/ 5963214 h 6858000"/>
              <a:gd name="connsiteX86" fmla="*/ 9281854 w 12192000"/>
              <a:gd name="connsiteY86" fmla="*/ 5963214 h 6858000"/>
              <a:gd name="connsiteX87" fmla="*/ 9298166 w 12192000"/>
              <a:gd name="connsiteY87" fmla="*/ 6011279 h 6858000"/>
              <a:gd name="connsiteX88" fmla="*/ 9347974 w 12192000"/>
              <a:gd name="connsiteY88" fmla="*/ 6011279 h 6858000"/>
              <a:gd name="connsiteX89" fmla="*/ 9267161 w 12192000"/>
              <a:gd name="connsiteY89" fmla="*/ 5795360 h 6858000"/>
              <a:gd name="connsiteX90" fmla="*/ 8430389 w 12192000"/>
              <a:gd name="connsiteY90" fmla="*/ 5795360 h 6858000"/>
              <a:gd name="connsiteX91" fmla="*/ 8430763 w 12192000"/>
              <a:gd name="connsiteY91" fmla="*/ 6011653 h 6858000"/>
              <a:gd name="connsiteX92" fmla="*/ 8594631 w 12192000"/>
              <a:gd name="connsiteY92" fmla="*/ 6011653 h 6858000"/>
              <a:gd name="connsiteX93" fmla="*/ 8594631 w 12192000"/>
              <a:gd name="connsiteY93" fmla="*/ 5971806 h 6858000"/>
              <a:gd name="connsiteX94" fmla="*/ 8478205 w 12192000"/>
              <a:gd name="connsiteY94" fmla="*/ 5971806 h 6858000"/>
              <a:gd name="connsiteX95" fmla="*/ 8478205 w 12192000"/>
              <a:gd name="connsiteY95" fmla="*/ 5918884 h 6858000"/>
              <a:gd name="connsiteX96" fmla="*/ 8582925 w 12192000"/>
              <a:gd name="connsiteY96" fmla="*/ 5918884 h 6858000"/>
              <a:gd name="connsiteX97" fmla="*/ 8582925 w 12192000"/>
              <a:gd name="connsiteY97" fmla="*/ 5881529 h 6858000"/>
              <a:gd name="connsiteX98" fmla="*/ 8478205 w 12192000"/>
              <a:gd name="connsiteY98" fmla="*/ 5881529 h 6858000"/>
              <a:gd name="connsiteX99" fmla="*/ 8478205 w 12192000"/>
              <a:gd name="connsiteY99" fmla="*/ 5835206 h 6858000"/>
              <a:gd name="connsiteX100" fmla="*/ 8592264 w 12192000"/>
              <a:gd name="connsiteY100" fmla="*/ 5835206 h 6858000"/>
              <a:gd name="connsiteX101" fmla="*/ 8592264 w 12192000"/>
              <a:gd name="connsiteY101" fmla="*/ 5795360 h 6858000"/>
              <a:gd name="connsiteX102" fmla="*/ 9686916 w 12192000"/>
              <a:gd name="connsiteY102" fmla="*/ 5790505 h 6858000"/>
              <a:gd name="connsiteX103" fmla="*/ 9580701 w 12192000"/>
              <a:gd name="connsiteY103" fmla="*/ 5904564 h 6858000"/>
              <a:gd name="connsiteX104" fmla="*/ 9686916 w 12192000"/>
              <a:gd name="connsiteY104" fmla="*/ 6016634 h 6858000"/>
              <a:gd name="connsiteX105" fmla="*/ 9746188 w 12192000"/>
              <a:gd name="connsiteY105" fmla="*/ 5986873 h 6858000"/>
              <a:gd name="connsiteX106" fmla="*/ 9751293 w 12192000"/>
              <a:gd name="connsiteY106" fmla="*/ 6011653 h 6858000"/>
              <a:gd name="connsiteX107" fmla="*/ 9781303 w 12192000"/>
              <a:gd name="connsiteY107" fmla="*/ 6011653 h 6858000"/>
              <a:gd name="connsiteX108" fmla="*/ 9781303 w 12192000"/>
              <a:gd name="connsiteY108" fmla="*/ 5894976 h 6858000"/>
              <a:gd name="connsiteX109" fmla="*/ 9690528 w 12192000"/>
              <a:gd name="connsiteY109" fmla="*/ 5894976 h 6858000"/>
              <a:gd name="connsiteX110" fmla="*/ 9690528 w 12192000"/>
              <a:gd name="connsiteY110" fmla="*/ 5930341 h 6858000"/>
              <a:gd name="connsiteX111" fmla="*/ 9738343 w 12192000"/>
              <a:gd name="connsiteY111" fmla="*/ 5930341 h 6858000"/>
              <a:gd name="connsiteX112" fmla="*/ 9691499 w 12192000"/>
              <a:gd name="connsiteY112" fmla="*/ 5977135 h 6858000"/>
              <a:gd name="connsiteX113" fmla="*/ 9686916 w 12192000"/>
              <a:gd name="connsiteY113" fmla="*/ 5976911 h 6858000"/>
              <a:gd name="connsiteX114" fmla="*/ 9628143 w 12192000"/>
              <a:gd name="connsiteY114" fmla="*/ 5904564 h 6858000"/>
              <a:gd name="connsiteX115" fmla="*/ 9686916 w 12192000"/>
              <a:gd name="connsiteY115" fmla="*/ 5830475 h 6858000"/>
              <a:gd name="connsiteX116" fmla="*/ 9732616 w 12192000"/>
              <a:gd name="connsiteY116" fmla="*/ 5866836 h 6858000"/>
              <a:gd name="connsiteX117" fmla="*/ 9777940 w 12192000"/>
              <a:gd name="connsiteY117" fmla="*/ 5866836 h 6858000"/>
              <a:gd name="connsiteX118" fmla="*/ 9686916 w 12192000"/>
              <a:gd name="connsiteY118" fmla="*/ 5790505 h 6858000"/>
              <a:gd name="connsiteX119" fmla="*/ 8807683 w 12192000"/>
              <a:gd name="connsiteY119" fmla="*/ 5790505 h 6858000"/>
              <a:gd name="connsiteX120" fmla="*/ 8701468 w 12192000"/>
              <a:gd name="connsiteY120" fmla="*/ 5904564 h 6858000"/>
              <a:gd name="connsiteX121" fmla="*/ 8807683 w 12192000"/>
              <a:gd name="connsiteY121" fmla="*/ 6016634 h 6858000"/>
              <a:gd name="connsiteX122" fmla="*/ 8902568 w 12192000"/>
              <a:gd name="connsiteY122" fmla="*/ 5928225 h 6858000"/>
              <a:gd name="connsiteX123" fmla="*/ 8856620 w 12192000"/>
              <a:gd name="connsiteY123" fmla="*/ 5928225 h 6858000"/>
              <a:gd name="connsiteX124" fmla="*/ 8807683 w 12192000"/>
              <a:gd name="connsiteY124" fmla="*/ 5976662 h 6858000"/>
              <a:gd name="connsiteX125" fmla="*/ 8748910 w 12192000"/>
              <a:gd name="connsiteY125" fmla="*/ 5904317 h 6858000"/>
              <a:gd name="connsiteX126" fmla="*/ 8807683 w 12192000"/>
              <a:gd name="connsiteY126" fmla="*/ 5830226 h 6858000"/>
              <a:gd name="connsiteX127" fmla="*/ 8854752 w 12192000"/>
              <a:gd name="connsiteY127" fmla="*/ 5867582 h 6858000"/>
              <a:gd name="connsiteX128" fmla="*/ 8900825 w 12192000"/>
              <a:gd name="connsiteY128" fmla="*/ 5868329 h 6858000"/>
              <a:gd name="connsiteX129" fmla="*/ 8807683 w 12192000"/>
              <a:gd name="connsiteY129" fmla="*/ 5790505 h 6858000"/>
              <a:gd name="connsiteX130" fmla="*/ 7810034 w 12192000"/>
              <a:gd name="connsiteY130" fmla="*/ 5790505 h 6858000"/>
              <a:gd name="connsiteX131" fmla="*/ 7703818 w 12192000"/>
              <a:gd name="connsiteY131" fmla="*/ 5904564 h 6858000"/>
              <a:gd name="connsiteX132" fmla="*/ 7810034 w 12192000"/>
              <a:gd name="connsiteY132" fmla="*/ 6016634 h 6858000"/>
              <a:gd name="connsiteX133" fmla="*/ 7869304 w 12192000"/>
              <a:gd name="connsiteY133" fmla="*/ 5986873 h 6858000"/>
              <a:gd name="connsiteX134" fmla="*/ 7874285 w 12192000"/>
              <a:gd name="connsiteY134" fmla="*/ 6011653 h 6858000"/>
              <a:gd name="connsiteX135" fmla="*/ 7904543 w 12192000"/>
              <a:gd name="connsiteY135" fmla="*/ 6011653 h 6858000"/>
              <a:gd name="connsiteX136" fmla="*/ 7904543 w 12192000"/>
              <a:gd name="connsiteY136" fmla="*/ 5894976 h 6858000"/>
              <a:gd name="connsiteX137" fmla="*/ 7813893 w 12192000"/>
              <a:gd name="connsiteY137" fmla="*/ 5894976 h 6858000"/>
              <a:gd name="connsiteX138" fmla="*/ 7813893 w 12192000"/>
              <a:gd name="connsiteY138" fmla="*/ 5930341 h 6858000"/>
              <a:gd name="connsiteX139" fmla="*/ 7861708 w 12192000"/>
              <a:gd name="connsiteY139" fmla="*/ 5930341 h 6858000"/>
              <a:gd name="connsiteX140" fmla="*/ 7814867 w 12192000"/>
              <a:gd name="connsiteY140" fmla="*/ 5977135 h 6858000"/>
              <a:gd name="connsiteX141" fmla="*/ 7810281 w 12192000"/>
              <a:gd name="connsiteY141" fmla="*/ 5976911 h 6858000"/>
              <a:gd name="connsiteX142" fmla="*/ 7751634 w 12192000"/>
              <a:gd name="connsiteY142" fmla="*/ 5904564 h 6858000"/>
              <a:gd name="connsiteX143" fmla="*/ 7810281 w 12192000"/>
              <a:gd name="connsiteY143" fmla="*/ 5830475 h 6858000"/>
              <a:gd name="connsiteX144" fmla="*/ 7855981 w 12192000"/>
              <a:gd name="connsiteY144" fmla="*/ 5866836 h 6858000"/>
              <a:gd name="connsiteX145" fmla="*/ 7901057 w 12192000"/>
              <a:gd name="connsiteY145" fmla="*/ 5866836 h 6858000"/>
              <a:gd name="connsiteX146" fmla="*/ 7810034 w 12192000"/>
              <a:gd name="connsiteY146" fmla="*/ 5790505 h 6858000"/>
              <a:gd name="connsiteX147" fmla="*/ 10308768 w 12192000"/>
              <a:gd name="connsiteY147" fmla="*/ 5790131 h 6858000"/>
              <a:gd name="connsiteX148" fmla="*/ 10227955 w 12192000"/>
              <a:gd name="connsiteY148" fmla="*/ 5855505 h 6858000"/>
              <a:gd name="connsiteX149" fmla="*/ 10292332 w 12192000"/>
              <a:gd name="connsiteY149" fmla="*/ 5916892 h 6858000"/>
              <a:gd name="connsiteX150" fmla="*/ 10356583 w 12192000"/>
              <a:gd name="connsiteY150" fmla="*/ 5952630 h 6858000"/>
              <a:gd name="connsiteX151" fmla="*/ 10314495 w 12192000"/>
              <a:gd name="connsiteY151" fmla="*/ 5979526 h 6858000"/>
              <a:gd name="connsiteX152" fmla="*/ 10266680 w 12192000"/>
              <a:gd name="connsiteY152" fmla="*/ 5939680 h 6858000"/>
              <a:gd name="connsiteX153" fmla="*/ 10220732 w 12192000"/>
              <a:gd name="connsiteY153" fmla="*/ 5940053 h 6858000"/>
              <a:gd name="connsiteX154" fmla="*/ 10312628 w 12192000"/>
              <a:gd name="connsiteY154" fmla="*/ 6016883 h 6858000"/>
              <a:gd name="connsiteX155" fmla="*/ 10402532 w 12192000"/>
              <a:gd name="connsiteY155" fmla="*/ 5947525 h 6858000"/>
              <a:gd name="connsiteX156" fmla="*/ 10338403 w 12192000"/>
              <a:gd name="connsiteY156" fmla="*/ 5884641 h 6858000"/>
              <a:gd name="connsiteX157" fmla="*/ 10273902 w 12192000"/>
              <a:gd name="connsiteY157" fmla="*/ 5852017 h 6858000"/>
              <a:gd name="connsiteX158" fmla="*/ 10306651 w 12192000"/>
              <a:gd name="connsiteY158" fmla="*/ 5827113 h 6858000"/>
              <a:gd name="connsiteX159" fmla="*/ 10349236 w 12192000"/>
              <a:gd name="connsiteY159" fmla="*/ 5859737 h 6858000"/>
              <a:gd name="connsiteX160" fmla="*/ 10395184 w 12192000"/>
              <a:gd name="connsiteY160" fmla="*/ 5859737 h 6858000"/>
              <a:gd name="connsiteX161" fmla="*/ 10308768 w 12192000"/>
              <a:gd name="connsiteY161" fmla="*/ 5790131 h 6858000"/>
              <a:gd name="connsiteX162" fmla="*/ 10730261 w 12192000"/>
              <a:gd name="connsiteY162" fmla="*/ 5358931 h 6858000"/>
              <a:gd name="connsiteX163" fmla="*/ 10730261 w 12192000"/>
              <a:gd name="connsiteY163" fmla="*/ 6010827 h 6858000"/>
              <a:gd name="connsiteX164" fmla="*/ 10730261 w 12192000"/>
              <a:gd name="connsiteY164" fmla="*/ 6148387 h 6858000"/>
              <a:gd name="connsiteX165" fmla="*/ 11488607 w 12192000"/>
              <a:gd name="connsiteY165" fmla="*/ 6148387 h 6858000"/>
              <a:gd name="connsiteX166" fmla="*/ 11551819 w 12192000"/>
              <a:gd name="connsiteY166" fmla="*/ 5946883 h 6858000"/>
              <a:gd name="connsiteX167" fmla="*/ 11572315 w 12192000"/>
              <a:gd name="connsiteY167" fmla="*/ 5358931 h 6858000"/>
              <a:gd name="connsiteX168" fmla="*/ 10730261 w 12192000"/>
              <a:gd name="connsiteY168" fmla="*/ 5358931 h 6858000"/>
              <a:gd name="connsiteX169" fmla="*/ 492295 w 12192000"/>
              <a:gd name="connsiteY169" fmla="*/ 3931468 h 6858000"/>
              <a:gd name="connsiteX170" fmla="*/ 492295 w 12192000"/>
              <a:gd name="connsiteY170" fmla="*/ 3937818 h 6858000"/>
              <a:gd name="connsiteX171" fmla="*/ 1156255 w 12192000"/>
              <a:gd name="connsiteY171" fmla="*/ 3937818 h 6858000"/>
              <a:gd name="connsiteX172" fmla="*/ 1156255 w 12192000"/>
              <a:gd name="connsiteY172" fmla="*/ 3931468 h 6858000"/>
              <a:gd name="connsiteX173" fmla="*/ 0 w 12192000"/>
              <a:gd name="connsiteY173" fmla="*/ 0 h 6858000"/>
              <a:gd name="connsiteX174" fmla="*/ 12192000 w 12192000"/>
              <a:gd name="connsiteY174" fmla="*/ 0 h 6858000"/>
              <a:gd name="connsiteX175" fmla="*/ 12192000 w 12192000"/>
              <a:gd name="connsiteY175" fmla="*/ 6858000 h 6858000"/>
              <a:gd name="connsiteX176" fmla="*/ 0 w 12192000"/>
              <a:gd name="connsiteY176" fmla="*/ 6858000 h 6858000"/>
              <a:gd name="connsiteX177" fmla="*/ 0 w 12192000"/>
              <a:gd name="connsiteY177" fmla="*/ 3763147 h 6858000"/>
              <a:gd name="connsiteX178" fmla="*/ 3834808 w 12192000"/>
              <a:gd name="connsiteY178" fmla="*/ 1 h 6858000"/>
              <a:gd name="connsiteX179" fmla="*/ 3077457 w 12192000"/>
              <a:gd name="connsiteY179" fmla="*/ 1 h 6858000"/>
              <a:gd name="connsiteX180" fmla="*/ 0 w 12192000"/>
              <a:gd name="connsiteY180" fmla="*/ 3019948 h 6858000"/>
              <a:gd name="connsiteX181" fmla="*/ 0 w 12192000"/>
              <a:gd name="connsiteY181" fmla="*/ 2688191 h 6858000"/>
              <a:gd name="connsiteX182" fmla="*/ 2739382 w 12192000"/>
              <a:gd name="connsiteY182" fmla="*/ 1 h 6858000"/>
              <a:gd name="connsiteX183" fmla="*/ 1982031 w 12192000"/>
              <a:gd name="connsiteY183" fmla="*/ 1 h 6858000"/>
              <a:gd name="connsiteX184" fmla="*/ 0 w 12192000"/>
              <a:gd name="connsiteY184" fmla="*/ 194499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Lst>
            <a:rect l="l" t="t" r="r" b="b"/>
            <a:pathLst>
              <a:path w="12192000" h="6858000">
                <a:moveTo>
                  <a:pt x="9241634" y="5848905"/>
                </a:moveTo>
                <a:lnTo>
                  <a:pt x="9268904" y="5928225"/>
                </a:lnTo>
                <a:lnTo>
                  <a:pt x="9213492" y="5928225"/>
                </a:lnTo>
                <a:close/>
                <a:moveTo>
                  <a:pt x="8032300" y="5848905"/>
                </a:moveTo>
                <a:lnTo>
                  <a:pt x="8059570" y="5928225"/>
                </a:lnTo>
                <a:lnTo>
                  <a:pt x="8003536" y="5928225"/>
                </a:lnTo>
                <a:close/>
                <a:moveTo>
                  <a:pt x="10063464" y="5832591"/>
                </a:moveTo>
                <a:lnTo>
                  <a:pt x="10115389" y="5832591"/>
                </a:lnTo>
                <a:cubicBezTo>
                  <a:pt x="10136682" y="5832591"/>
                  <a:pt x="10148137" y="5841682"/>
                  <a:pt x="10148137" y="5862602"/>
                </a:cubicBezTo>
                <a:cubicBezTo>
                  <a:pt x="10148137" y="5883521"/>
                  <a:pt x="10136682" y="5893483"/>
                  <a:pt x="10115389" y="5893483"/>
                </a:cubicBezTo>
                <a:lnTo>
                  <a:pt x="10063464" y="5893483"/>
                </a:lnTo>
                <a:close/>
                <a:moveTo>
                  <a:pt x="10136682" y="5796232"/>
                </a:moveTo>
                <a:cubicBezTo>
                  <a:pt x="10135274" y="5796220"/>
                  <a:pt x="10133855" y="5796270"/>
                  <a:pt x="10132448" y="5796356"/>
                </a:cubicBezTo>
                <a:lnTo>
                  <a:pt x="10015897" y="5796356"/>
                </a:lnTo>
                <a:lnTo>
                  <a:pt x="10015897" y="6011653"/>
                </a:lnTo>
                <a:lnTo>
                  <a:pt x="10063464" y="6011653"/>
                </a:lnTo>
                <a:lnTo>
                  <a:pt x="10063464" y="5927352"/>
                </a:lnTo>
                <a:lnTo>
                  <a:pt x="10110906" y="5927352"/>
                </a:lnTo>
                <a:cubicBezTo>
                  <a:pt x="10134813" y="5927352"/>
                  <a:pt x="10143529" y="5937314"/>
                  <a:pt x="10146891" y="5959976"/>
                </a:cubicBezTo>
                <a:cubicBezTo>
                  <a:pt x="10147514" y="5977435"/>
                  <a:pt x="10150055" y="5994756"/>
                  <a:pt x="10154487" y="6011653"/>
                </a:cubicBezTo>
                <a:lnTo>
                  <a:pt x="10201929" y="6011653"/>
                </a:lnTo>
                <a:cubicBezTo>
                  <a:pt x="10193463" y="5999200"/>
                  <a:pt x="10193836" y="5974296"/>
                  <a:pt x="10192840" y="5960599"/>
                </a:cubicBezTo>
                <a:cubicBezTo>
                  <a:pt x="10191345" y="5938807"/>
                  <a:pt x="10184747" y="5916145"/>
                  <a:pt x="10161460" y="5910044"/>
                </a:cubicBezTo>
                <a:cubicBezTo>
                  <a:pt x="10183675" y="5901664"/>
                  <a:pt x="10197609" y="5879536"/>
                  <a:pt x="10195579" y="5855878"/>
                </a:cubicBezTo>
                <a:cubicBezTo>
                  <a:pt x="10195791" y="5823141"/>
                  <a:pt x="10169418" y="5796444"/>
                  <a:pt x="10136682" y="5796232"/>
                </a:cubicBezTo>
                <a:close/>
                <a:moveTo>
                  <a:pt x="9366154" y="5795735"/>
                </a:moveTo>
                <a:lnTo>
                  <a:pt x="9366154" y="6011653"/>
                </a:lnTo>
                <a:lnTo>
                  <a:pt x="9410608" y="6011653"/>
                </a:lnTo>
                <a:lnTo>
                  <a:pt x="9410608" y="5867084"/>
                </a:lnTo>
                <a:lnTo>
                  <a:pt x="9411230" y="5867084"/>
                </a:lnTo>
                <a:lnTo>
                  <a:pt x="9501134" y="6011653"/>
                </a:lnTo>
                <a:lnTo>
                  <a:pt x="9548576" y="6011653"/>
                </a:lnTo>
                <a:lnTo>
                  <a:pt x="9548576" y="5795735"/>
                </a:lnTo>
                <a:lnTo>
                  <a:pt x="9504122" y="5795735"/>
                </a:lnTo>
                <a:lnTo>
                  <a:pt x="9504122" y="5940552"/>
                </a:lnTo>
                <a:lnTo>
                  <a:pt x="9503500" y="5940552"/>
                </a:lnTo>
                <a:lnTo>
                  <a:pt x="9413346" y="5795735"/>
                </a:lnTo>
                <a:close/>
                <a:moveTo>
                  <a:pt x="8934569" y="5795735"/>
                </a:moveTo>
                <a:lnTo>
                  <a:pt x="8934942" y="6011653"/>
                </a:lnTo>
                <a:lnTo>
                  <a:pt x="8982510" y="6011653"/>
                </a:lnTo>
                <a:lnTo>
                  <a:pt x="8982510" y="5918511"/>
                </a:lnTo>
                <a:lnTo>
                  <a:pt x="9069672" y="5918511"/>
                </a:lnTo>
                <a:lnTo>
                  <a:pt x="9069672" y="6011653"/>
                </a:lnTo>
                <a:lnTo>
                  <a:pt x="9117115" y="6011653"/>
                </a:lnTo>
                <a:lnTo>
                  <a:pt x="9117115" y="5795735"/>
                </a:lnTo>
                <a:lnTo>
                  <a:pt x="9069672" y="5795735"/>
                </a:lnTo>
                <a:lnTo>
                  <a:pt x="9069672" y="5878540"/>
                </a:lnTo>
                <a:lnTo>
                  <a:pt x="8982510" y="5878540"/>
                </a:lnTo>
                <a:lnTo>
                  <a:pt x="8982510" y="5795735"/>
                </a:lnTo>
                <a:close/>
                <a:moveTo>
                  <a:pt x="8157193" y="5795735"/>
                </a:moveTo>
                <a:lnTo>
                  <a:pt x="8156820" y="6011653"/>
                </a:lnTo>
                <a:lnTo>
                  <a:pt x="8201274" y="6011653"/>
                </a:lnTo>
                <a:lnTo>
                  <a:pt x="8201274" y="5860110"/>
                </a:lnTo>
                <a:lnTo>
                  <a:pt x="8254194" y="6011653"/>
                </a:lnTo>
                <a:lnTo>
                  <a:pt x="8290804" y="6011653"/>
                </a:lnTo>
                <a:lnTo>
                  <a:pt x="8343848" y="5858617"/>
                </a:lnTo>
                <a:lnTo>
                  <a:pt x="8343848" y="6011653"/>
                </a:lnTo>
                <a:lnTo>
                  <a:pt x="8388302" y="6011653"/>
                </a:lnTo>
                <a:lnTo>
                  <a:pt x="8388302" y="5795735"/>
                </a:lnTo>
                <a:lnTo>
                  <a:pt x="8321559" y="5795735"/>
                </a:lnTo>
                <a:lnTo>
                  <a:pt x="8274616" y="5944287"/>
                </a:lnTo>
                <a:lnTo>
                  <a:pt x="8224061" y="5795735"/>
                </a:lnTo>
                <a:close/>
                <a:moveTo>
                  <a:pt x="8008019" y="5795735"/>
                </a:moveTo>
                <a:lnTo>
                  <a:pt x="7925961" y="6011653"/>
                </a:lnTo>
                <a:lnTo>
                  <a:pt x="7974024" y="6011653"/>
                </a:lnTo>
                <a:lnTo>
                  <a:pt x="7991085" y="5963214"/>
                </a:lnTo>
                <a:lnTo>
                  <a:pt x="8071897" y="5963214"/>
                </a:lnTo>
                <a:lnTo>
                  <a:pt x="8087836" y="6011653"/>
                </a:lnTo>
                <a:lnTo>
                  <a:pt x="8137644" y="6011653"/>
                </a:lnTo>
                <a:lnTo>
                  <a:pt x="8056705" y="5795735"/>
                </a:lnTo>
                <a:close/>
                <a:moveTo>
                  <a:pt x="9819530" y="5795360"/>
                </a:moveTo>
                <a:lnTo>
                  <a:pt x="9819904" y="6011653"/>
                </a:lnTo>
                <a:lnTo>
                  <a:pt x="9983896" y="6011653"/>
                </a:lnTo>
                <a:lnTo>
                  <a:pt x="9983896" y="5971806"/>
                </a:lnTo>
                <a:lnTo>
                  <a:pt x="9867470" y="5971806"/>
                </a:lnTo>
                <a:lnTo>
                  <a:pt x="9867470" y="5918884"/>
                </a:lnTo>
                <a:lnTo>
                  <a:pt x="9972066" y="5918884"/>
                </a:lnTo>
                <a:lnTo>
                  <a:pt x="9972066" y="5881529"/>
                </a:lnTo>
                <a:lnTo>
                  <a:pt x="9867470" y="5881529"/>
                </a:lnTo>
                <a:lnTo>
                  <a:pt x="9867470" y="5835206"/>
                </a:lnTo>
                <a:lnTo>
                  <a:pt x="9981405" y="5835206"/>
                </a:lnTo>
                <a:lnTo>
                  <a:pt x="9981405" y="5795360"/>
                </a:lnTo>
                <a:close/>
                <a:moveTo>
                  <a:pt x="9218473" y="5795360"/>
                </a:moveTo>
                <a:lnTo>
                  <a:pt x="9136167" y="6011653"/>
                </a:lnTo>
                <a:lnTo>
                  <a:pt x="9183608" y="6011653"/>
                </a:lnTo>
                <a:lnTo>
                  <a:pt x="9201041" y="5963214"/>
                </a:lnTo>
                <a:lnTo>
                  <a:pt x="9281854" y="5963214"/>
                </a:lnTo>
                <a:lnTo>
                  <a:pt x="9298166" y="6011279"/>
                </a:lnTo>
                <a:lnTo>
                  <a:pt x="9347974" y="6011279"/>
                </a:lnTo>
                <a:lnTo>
                  <a:pt x="9267161" y="5795360"/>
                </a:lnTo>
                <a:close/>
                <a:moveTo>
                  <a:pt x="8430389" y="5795360"/>
                </a:moveTo>
                <a:lnTo>
                  <a:pt x="8430763" y="6011653"/>
                </a:lnTo>
                <a:lnTo>
                  <a:pt x="8594631" y="6011653"/>
                </a:lnTo>
                <a:lnTo>
                  <a:pt x="8594631" y="5971806"/>
                </a:lnTo>
                <a:lnTo>
                  <a:pt x="8478205" y="5971806"/>
                </a:lnTo>
                <a:lnTo>
                  <a:pt x="8478205" y="5918884"/>
                </a:lnTo>
                <a:lnTo>
                  <a:pt x="8582925" y="5918884"/>
                </a:lnTo>
                <a:lnTo>
                  <a:pt x="8582925" y="5881529"/>
                </a:lnTo>
                <a:lnTo>
                  <a:pt x="8478205" y="5881529"/>
                </a:lnTo>
                <a:lnTo>
                  <a:pt x="8478205" y="5835206"/>
                </a:lnTo>
                <a:lnTo>
                  <a:pt x="8592264" y="5835206"/>
                </a:lnTo>
                <a:lnTo>
                  <a:pt x="8592264" y="5795360"/>
                </a:lnTo>
                <a:close/>
                <a:moveTo>
                  <a:pt x="9686916" y="5790505"/>
                </a:moveTo>
                <a:cubicBezTo>
                  <a:pt x="9620050" y="5790505"/>
                  <a:pt x="9580701" y="5840313"/>
                  <a:pt x="9580701" y="5904564"/>
                </a:cubicBezTo>
                <a:cubicBezTo>
                  <a:pt x="9580701" y="5968818"/>
                  <a:pt x="9620050" y="6016634"/>
                  <a:pt x="9686916" y="6016634"/>
                </a:cubicBezTo>
                <a:cubicBezTo>
                  <a:pt x="9710289" y="6016745"/>
                  <a:pt x="9732316" y="6005688"/>
                  <a:pt x="9746188" y="5986873"/>
                </a:cubicBezTo>
                <a:lnTo>
                  <a:pt x="9751293" y="6011653"/>
                </a:lnTo>
                <a:lnTo>
                  <a:pt x="9781303" y="6011653"/>
                </a:lnTo>
                <a:lnTo>
                  <a:pt x="9781303" y="5894976"/>
                </a:lnTo>
                <a:lnTo>
                  <a:pt x="9690528" y="5894976"/>
                </a:lnTo>
                <a:lnTo>
                  <a:pt x="9690528" y="5930341"/>
                </a:lnTo>
                <a:lnTo>
                  <a:pt x="9738343" y="5930341"/>
                </a:lnTo>
                <a:cubicBezTo>
                  <a:pt x="9738330" y="5956203"/>
                  <a:pt x="9717362" y="5977148"/>
                  <a:pt x="9691499" y="5977135"/>
                </a:cubicBezTo>
                <a:cubicBezTo>
                  <a:pt x="9689968" y="5977135"/>
                  <a:pt x="9688436" y="5977060"/>
                  <a:pt x="9686916" y="5976911"/>
                </a:cubicBezTo>
                <a:cubicBezTo>
                  <a:pt x="9644207" y="5976911"/>
                  <a:pt x="9628143" y="5940552"/>
                  <a:pt x="9628143" y="5904564"/>
                </a:cubicBezTo>
                <a:cubicBezTo>
                  <a:pt x="9628143" y="5868579"/>
                  <a:pt x="9644207" y="5830475"/>
                  <a:pt x="9686916" y="5830475"/>
                </a:cubicBezTo>
                <a:cubicBezTo>
                  <a:pt x="9709094" y="5829491"/>
                  <a:pt x="9728593" y="5845006"/>
                  <a:pt x="9732616" y="5866836"/>
                </a:cubicBezTo>
                <a:lnTo>
                  <a:pt x="9777940" y="5866836"/>
                </a:lnTo>
                <a:cubicBezTo>
                  <a:pt x="9772835" y="5817774"/>
                  <a:pt x="9730997" y="5790505"/>
                  <a:pt x="9686916" y="5790505"/>
                </a:cubicBezTo>
                <a:close/>
                <a:moveTo>
                  <a:pt x="8807683" y="5790505"/>
                </a:moveTo>
                <a:cubicBezTo>
                  <a:pt x="8740817" y="5790505"/>
                  <a:pt x="8701468" y="5840313"/>
                  <a:pt x="8701468" y="5904564"/>
                </a:cubicBezTo>
                <a:cubicBezTo>
                  <a:pt x="8701468" y="5968818"/>
                  <a:pt x="8740817" y="6016634"/>
                  <a:pt x="8807683" y="6016634"/>
                </a:cubicBezTo>
                <a:cubicBezTo>
                  <a:pt x="8860605" y="6016634"/>
                  <a:pt x="8897711" y="5982141"/>
                  <a:pt x="8902568" y="5928225"/>
                </a:cubicBezTo>
                <a:lnTo>
                  <a:pt x="8856620" y="5928225"/>
                </a:lnTo>
                <a:cubicBezTo>
                  <a:pt x="8853009" y="5956738"/>
                  <a:pt x="8836697" y="5976662"/>
                  <a:pt x="8807683" y="5976662"/>
                </a:cubicBezTo>
                <a:cubicBezTo>
                  <a:pt x="8764974" y="5976662"/>
                  <a:pt x="8748910" y="5940302"/>
                  <a:pt x="8748910" y="5904317"/>
                </a:cubicBezTo>
                <a:cubicBezTo>
                  <a:pt x="8748910" y="5868329"/>
                  <a:pt x="8764974" y="5830226"/>
                  <a:pt x="8807683" y="5830226"/>
                </a:cubicBezTo>
                <a:cubicBezTo>
                  <a:pt x="8830383" y="5829542"/>
                  <a:pt x="8850269" y="5845319"/>
                  <a:pt x="8854752" y="5867582"/>
                </a:cubicBezTo>
                <a:lnTo>
                  <a:pt x="8900825" y="5868329"/>
                </a:lnTo>
                <a:cubicBezTo>
                  <a:pt x="8895097" y="5818521"/>
                  <a:pt x="8855126" y="5790505"/>
                  <a:pt x="8807683" y="5790505"/>
                </a:cubicBezTo>
                <a:close/>
                <a:moveTo>
                  <a:pt x="7810034" y="5790505"/>
                </a:moveTo>
                <a:cubicBezTo>
                  <a:pt x="7743166" y="5790505"/>
                  <a:pt x="7703818" y="5840313"/>
                  <a:pt x="7703818" y="5904564"/>
                </a:cubicBezTo>
                <a:cubicBezTo>
                  <a:pt x="7703818" y="5968818"/>
                  <a:pt x="7743166" y="6016634"/>
                  <a:pt x="7810034" y="6016634"/>
                </a:cubicBezTo>
                <a:cubicBezTo>
                  <a:pt x="7833417" y="6016783"/>
                  <a:pt x="7855458" y="6005713"/>
                  <a:pt x="7869304" y="5986873"/>
                </a:cubicBezTo>
                <a:lnTo>
                  <a:pt x="7874285" y="6011653"/>
                </a:lnTo>
                <a:lnTo>
                  <a:pt x="7904543" y="6011653"/>
                </a:lnTo>
                <a:lnTo>
                  <a:pt x="7904543" y="5894976"/>
                </a:lnTo>
                <a:lnTo>
                  <a:pt x="7813893" y="5894976"/>
                </a:lnTo>
                <a:lnTo>
                  <a:pt x="7813893" y="5930341"/>
                </a:lnTo>
                <a:lnTo>
                  <a:pt x="7861708" y="5930341"/>
                </a:lnTo>
                <a:cubicBezTo>
                  <a:pt x="7861696" y="5956203"/>
                  <a:pt x="7840725" y="5977148"/>
                  <a:pt x="7814867" y="5977135"/>
                </a:cubicBezTo>
                <a:cubicBezTo>
                  <a:pt x="7813336" y="5977135"/>
                  <a:pt x="7811806" y="5977060"/>
                  <a:pt x="7810281" y="5976911"/>
                </a:cubicBezTo>
                <a:cubicBezTo>
                  <a:pt x="7767572" y="5976911"/>
                  <a:pt x="7751634" y="5940552"/>
                  <a:pt x="7751634" y="5904564"/>
                </a:cubicBezTo>
                <a:cubicBezTo>
                  <a:pt x="7751634" y="5868579"/>
                  <a:pt x="7767572" y="5830475"/>
                  <a:pt x="7810281" y="5830475"/>
                </a:cubicBezTo>
                <a:cubicBezTo>
                  <a:pt x="7832474" y="5829429"/>
                  <a:pt x="7852012" y="5844981"/>
                  <a:pt x="7855981" y="5866836"/>
                </a:cubicBezTo>
                <a:lnTo>
                  <a:pt x="7901057" y="5866836"/>
                </a:lnTo>
                <a:cubicBezTo>
                  <a:pt x="7895951" y="5817774"/>
                  <a:pt x="7854238" y="5790505"/>
                  <a:pt x="7810034" y="5790505"/>
                </a:cubicBezTo>
                <a:close/>
                <a:moveTo>
                  <a:pt x="10308768" y="5790131"/>
                </a:moveTo>
                <a:cubicBezTo>
                  <a:pt x="10269668" y="5790131"/>
                  <a:pt x="10227955" y="5811424"/>
                  <a:pt x="10227955" y="5855505"/>
                </a:cubicBezTo>
                <a:cubicBezTo>
                  <a:pt x="10227955" y="5896098"/>
                  <a:pt x="10260329" y="5908425"/>
                  <a:pt x="10292332" y="5916892"/>
                </a:cubicBezTo>
                <a:cubicBezTo>
                  <a:pt x="10324332" y="5925360"/>
                  <a:pt x="10356583" y="5929345"/>
                  <a:pt x="10356583" y="5952630"/>
                </a:cubicBezTo>
                <a:cubicBezTo>
                  <a:pt x="10356583" y="5975915"/>
                  <a:pt x="10331056" y="5979526"/>
                  <a:pt x="10314495" y="5979526"/>
                </a:cubicBezTo>
                <a:cubicBezTo>
                  <a:pt x="10289591" y="5979526"/>
                  <a:pt x="10266680" y="5968319"/>
                  <a:pt x="10266680" y="5939680"/>
                </a:cubicBezTo>
                <a:lnTo>
                  <a:pt x="10220732" y="5940053"/>
                </a:lnTo>
                <a:cubicBezTo>
                  <a:pt x="10220110" y="5993223"/>
                  <a:pt x="10264812" y="6016883"/>
                  <a:pt x="10312628" y="6016883"/>
                </a:cubicBezTo>
                <a:cubicBezTo>
                  <a:pt x="10371401" y="6016883"/>
                  <a:pt x="10402532" y="5987122"/>
                  <a:pt x="10402532" y="5947525"/>
                </a:cubicBezTo>
                <a:cubicBezTo>
                  <a:pt x="10402532" y="5898587"/>
                  <a:pt x="10354093" y="5888626"/>
                  <a:pt x="10338403" y="5884641"/>
                </a:cubicBezTo>
                <a:cubicBezTo>
                  <a:pt x="10284237" y="5870695"/>
                  <a:pt x="10273902" y="5868579"/>
                  <a:pt x="10273902" y="5852017"/>
                </a:cubicBezTo>
                <a:cubicBezTo>
                  <a:pt x="10273902" y="5835456"/>
                  <a:pt x="10291459" y="5827113"/>
                  <a:pt x="10306651" y="5827113"/>
                </a:cubicBezTo>
                <a:cubicBezTo>
                  <a:pt x="10329313" y="5827113"/>
                  <a:pt x="10347742" y="5833713"/>
                  <a:pt x="10349236" y="5859737"/>
                </a:cubicBezTo>
                <a:lnTo>
                  <a:pt x="10395184" y="5859737"/>
                </a:lnTo>
                <a:cubicBezTo>
                  <a:pt x="10395184" y="5809929"/>
                  <a:pt x="10353844" y="5790131"/>
                  <a:pt x="10308768" y="5790131"/>
                </a:cubicBezTo>
                <a:close/>
                <a:moveTo>
                  <a:pt x="10730261" y="5358931"/>
                </a:moveTo>
                <a:cubicBezTo>
                  <a:pt x="10730261" y="5358931"/>
                  <a:pt x="10730261" y="5358931"/>
                  <a:pt x="10730261" y="6010827"/>
                </a:cubicBezTo>
                <a:lnTo>
                  <a:pt x="10730261" y="6148387"/>
                </a:lnTo>
                <a:lnTo>
                  <a:pt x="11488607" y="6148387"/>
                </a:lnTo>
                <a:lnTo>
                  <a:pt x="11551819" y="5946883"/>
                </a:lnTo>
                <a:cubicBezTo>
                  <a:pt x="11599433" y="5747310"/>
                  <a:pt x="11600551" y="5556815"/>
                  <a:pt x="11572315" y="5358931"/>
                </a:cubicBezTo>
                <a:cubicBezTo>
                  <a:pt x="11572315" y="5358931"/>
                  <a:pt x="11572315" y="5358931"/>
                  <a:pt x="10730261" y="5358931"/>
                </a:cubicBezTo>
                <a:close/>
                <a:moveTo>
                  <a:pt x="492295" y="3931468"/>
                </a:moveTo>
                <a:lnTo>
                  <a:pt x="492295" y="3937818"/>
                </a:lnTo>
                <a:lnTo>
                  <a:pt x="1156255" y="3937818"/>
                </a:lnTo>
                <a:lnTo>
                  <a:pt x="1156255" y="3931468"/>
                </a:lnTo>
                <a:close/>
                <a:moveTo>
                  <a:pt x="0" y="0"/>
                </a:moveTo>
                <a:lnTo>
                  <a:pt x="12192000" y="0"/>
                </a:lnTo>
                <a:lnTo>
                  <a:pt x="12192000" y="6858000"/>
                </a:lnTo>
                <a:lnTo>
                  <a:pt x="0" y="6858000"/>
                </a:lnTo>
                <a:lnTo>
                  <a:pt x="0" y="3763147"/>
                </a:lnTo>
                <a:lnTo>
                  <a:pt x="3834808" y="1"/>
                </a:lnTo>
                <a:lnTo>
                  <a:pt x="3077457" y="1"/>
                </a:lnTo>
                <a:lnTo>
                  <a:pt x="0" y="3019948"/>
                </a:lnTo>
                <a:lnTo>
                  <a:pt x="0" y="2688191"/>
                </a:lnTo>
                <a:lnTo>
                  <a:pt x="2739382" y="1"/>
                </a:lnTo>
                <a:lnTo>
                  <a:pt x="1982031" y="1"/>
                </a:lnTo>
                <a:lnTo>
                  <a:pt x="0" y="1944992"/>
                </a:lnTo>
                <a:close/>
              </a:path>
            </a:pathLst>
          </a:custGeom>
          <a:solidFill>
            <a:schemeClr val="bg1">
              <a:lumMod val="75000"/>
            </a:schemeClr>
          </a:solidFill>
        </p:spPr>
        <p:txBody>
          <a:bodyPr wrap="square" anchor="ctr">
            <a:noAutofit/>
          </a:bodyPr>
          <a:lstStyle>
            <a:lvl1pPr algn="ctr">
              <a:defRPr/>
            </a:lvl1pPr>
          </a:lstStyle>
          <a:p>
            <a:r>
              <a:rPr lang="en-US" noProof="0" dirty="0"/>
              <a:t>Click icon to add picture</a:t>
            </a:r>
          </a:p>
        </p:txBody>
      </p:sp>
      <p:grpSp>
        <p:nvGrpSpPr>
          <p:cNvPr id="43" name="Angled stripes">
            <a:extLst>
              <a:ext uri="{FF2B5EF4-FFF2-40B4-BE49-F238E27FC236}">
                <a16:creationId xmlns:a16="http://schemas.microsoft.com/office/drawing/2014/main" id="{E8AA77F0-8C67-4782-A8AE-E8E7179B587B}"/>
              </a:ext>
            </a:extLst>
          </p:cNvPr>
          <p:cNvGrpSpPr/>
          <p:nvPr userDrawn="1"/>
        </p:nvGrpSpPr>
        <p:grpSpPr>
          <a:xfrm>
            <a:off x="0" y="1"/>
            <a:ext cx="3834809" cy="3763146"/>
            <a:chOff x="0" y="1"/>
            <a:chExt cx="3834809" cy="3763146"/>
          </a:xfrm>
        </p:grpSpPr>
        <p:sp>
          <p:nvSpPr>
            <p:cNvPr id="44" name="Angled stripe 2">
              <a:extLst>
                <a:ext uri="{FF2B5EF4-FFF2-40B4-BE49-F238E27FC236}">
                  <a16:creationId xmlns:a16="http://schemas.microsoft.com/office/drawing/2014/main" id="{6BE24D41-1204-45D8-AD16-F7F8FB6A4588}"/>
                </a:ext>
              </a:extLst>
            </p:cNvPr>
            <p:cNvSpPr/>
            <p:nvPr userDrawn="1"/>
          </p:nvSpPr>
          <p:spPr>
            <a:xfrm>
              <a:off x="0" y="1"/>
              <a:ext cx="3834809" cy="3763146"/>
            </a:xfrm>
            <a:custGeom>
              <a:avLst/>
              <a:gdLst>
                <a:gd name="connsiteX0" fmla="*/ 3077457 w 3834809"/>
                <a:gd name="connsiteY0" fmla="*/ 0 h 3763146"/>
                <a:gd name="connsiteX1" fmla="*/ 3834809 w 3834809"/>
                <a:gd name="connsiteY1" fmla="*/ 0 h 3763146"/>
                <a:gd name="connsiteX2" fmla="*/ 1 w 3834809"/>
                <a:gd name="connsiteY2" fmla="*/ 3763146 h 3763146"/>
                <a:gd name="connsiteX3" fmla="*/ 0 w 3834809"/>
                <a:gd name="connsiteY3" fmla="*/ 3019948 h 3763146"/>
              </a:gdLst>
              <a:ahLst/>
              <a:cxnLst>
                <a:cxn ang="0">
                  <a:pos x="connsiteX0" y="connsiteY0"/>
                </a:cxn>
                <a:cxn ang="0">
                  <a:pos x="connsiteX1" y="connsiteY1"/>
                </a:cxn>
                <a:cxn ang="0">
                  <a:pos x="connsiteX2" y="connsiteY2"/>
                </a:cxn>
                <a:cxn ang="0">
                  <a:pos x="connsiteX3" y="connsiteY3"/>
                </a:cxn>
              </a:cxnLst>
              <a:rect l="l" t="t" r="r" b="b"/>
              <a:pathLst>
                <a:path w="3834809" h="3763146">
                  <a:moveTo>
                    <a:pt x="3077457" y="0"/>
                  </a:moveTo>
                  <a:lnTo>
                    <a:pt x="3834809" y="0"/>
                  </a:lnTo>
                  <a:lnTo>
                    <a:pt x="1" y="3763146"/>
                  </a:lnTo>
                  <a:lnTo>
                    <a:pt x="0" y="3019948"/>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sp>
          <p:nvSpPr>
            <p:cNvPr id="46" name="Angled stripe 1">
              <a:extLst>
                <a:ext uri="{FF2B5EF4-FFF2-40B4-BE49-F238E27FC236}">
                  <a16:creationId xmlns:a16="http://schemas.microsoft.com/office/drawing/2014/main" id="{2F54C7D9-5067-465E-B620-75BE874F8D9E}"/>
                </a:ext>
              </a:extLst>
            </p:cNvPr>
            <p:cNvSpPr/>
            <p:nvPr userDrawn="1"/>
          </p:nvSpPr>
          <p:spPr>
            <a:xfrm>
              <a:off x="0" y="1"/>
              <a:ext cx="2739382" cy="2688191"/>
            </a:xfrm>
            <a:custGeom>
              <a:avLst/>
              <a:gdLst>
                <a:gd name="connsiteX0" fmla="*/ 1982030 w 2739382"/>
                <a:gd name="connsiteY0" fmla="*/ 0 h 2688191"/>
                <a:gd name="connsiteX1" fmla="*/ 2739382 w 2739382"/>
                <a:gd name="connsiteY1" fmla="*/ 0 h 2688191"/>
                <a:gd name="connsiteX2" fmla="*/ 0 w 2739382"/>
                <a:gd name="connsiteY2" fmla="*/ 2688191 h 2688191"/>
                <a:gd name="connsiteX3" fmla="*/ 0 w 2739382"/>
                <a:gd name="connsiteY3" fmla="*/ 1944992 h 2688191"/>
              </a:gdLst>
              <a:ahLst/>
              <a:cxnLst>
                <a:cxn ang="0">
                  <a:pos x="connsiteX0" y="connsiteY0"/>
                </a:cxn>
                <a:cxn ang="0">
                  <a:pos x="connsiteX1" y="connsiteY1"/>
                </a:cxn>
                <a:cxn ang="0">
                  <a:pos x="connsiteX2" y="connsiteY2"/>
                </a:cxn>
                <a:cxn ang="0">
                  <a:pos x="connsiteX3" y="connsiteY3"/>
                </a:cxn>
              </a:cxnLst>
              <a:rect l="l" t="t" r="r" b="b"/>
              <a:pathLst>
                <a:path w="2739382" h="2688191">
                  <a:moveTo>
                    <a:pt x="1982030" y="0"/>
                  </a:moveTo>
                  <a:lnTo>
                    <a:pt x="2739382" y="0"/>
                  </a:lnTo>
                  <a:lnTo>
                    <a:pt x="0" y="2688191"/>
                  </a:lnTo>
                  <a:lnTo>
                    <a:pt x="0" y="1944992"/>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sp>
        <p:nvSpPr>
          <p:cNvPr id="24" name="strTitle">
            <a:extLst>
              <a:ext uri="{FF2B5EF4-FFF2-40B4-BE49-F238E27FC236}">
                <a16:creationId xmlns:a16="http://schemas.microsoft.com/office/drawing/2014/main" id="{282677E1-E7D7-461C-9F6D-B1708372F571}"/>
              </a:ext>
            </a:extLst>
          </p:cNvPr>
          <p:cNvSpPr>
            <a:spLocks noGrp="1"/>
          </p:cNvSpPr>
          <p:nvPr>
            <p:ph type="ctrTitle" hasCustomPrompt="1"/>
          </p:nvPr>
        </p:nvSpPr>
        <p:spPr>
          <a:xfrm>
            <a:off x="407988" y="521852"/>
            <a:ext cx="7551997" cy="2475348"/>
          </a:xfrm>
        </p:spPr>
        <p:txBody>
          <a:bodyPr lIns="72000" rIns="72000" anchor="t">
            <a:noAutofit/>
          </a:bodyPr>
          <a:lstStyle>
            <a:lvl1pPr algn="l">
              <a:lnSpc>
                <a:spcPct val="80000"/>
              </a:lnSpc>
              <a:defRPr sz="6000" b="1" cap="all" spc="-200" baseline="0">
                <a:solidFill>
                  <a:schemeClr val="bg1"/>
                </a:solidFill>
                <a:latin typeface="+mj-lt"/>
              </a:defRPr>
            </a:lvl1pPr>
          </a:lstStyle>
          <a:p>
            <a:r>
              <a:rPr lang="en-US" noProof="0" dirty="0"/>
              <a:t>TITLE OF THE presentation</a:t>
            </a:r>
          </a:p>
        </p:txBody>
      </p:sp>
      <p:sp>
        <p:nvSpPr>
          <p:cNvPr id="13" name="strSubtitle">
            <a:extLst>
              <a:ext uri="{FF2B5EF4-FFF2-40B4-BE49-F238E27FC236}">
                <a16:creationId xmlns:a16="http://schemas.microsoft.com/office/drawing/2014/main" id="{E9CCE011-2916-434D-A5D2-7A96A56EDFB2}"/>
              </a:ext>
            </a:extLst>
          </p:cNvPr>
          <p:cNvSpPr>
            <a:spLocks noGrp="1"/>
          </p:cNvSpPr>
          <p:nvPr>
            <p:ph type="subTitle" idx="1" hasCustomPrompt="1"/>
          </p:nvPr>
        </p:nvSpPr>
        <p:spPr>
          <a:xfrm>
            <a:off x="407988" y="3001503"/>
            <a:ext cx="7551997" cy="811367"/>
          </a:xfrm>
        </p:spPr>
        <p:txBody>
          <a:bodyPr wrap="square" lIns="72000" tIns="36000" rIns="72000" bIns="36000">
            <a:noAutofit/>
          </a:bodyPr>
          <a:lstStyle>
            <a:lvl1pPr marL="0" indent="0" algn="l">
              <a:spcBef>
                <a:spcPts val="0"/>
              </a:spcBef>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Subtitle of the presentation</a:t>
            </a:r>
          </a:p>
        </p:txBody>
      </p:sp>
      <p:sp>
        <p:nvSpPr>
          <p:cNvPr id="26" name="strDate">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07988" y="4014515"/>
            <a:ext cx="3600000" cy="349702"/>
          </a:xfrm>
        </p:spPr>
        <p:txBody>
          <a:bodyPr wrap="square" lIns="72000" tIns="36000" rIns="72000" bIns="36000">
            <a:noAutofit/>
          </a:bodyPr>
          <a:lstStyle>
            <a:lvl1pPr marL="0" indent="0">
              <a:spcBef>
                <a:spcPts val="0"/>
              </a:spcBef>
              <a:buNone/>
              <a:defRPr sz="18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dirty="0"/>
              <a:t>Month 20##</a:t>
            </a:r>
          </a:p>
        </p:txBody>
      </p:sp>
      <p:sp>
        <p:nvSpPr>
          <p:cNvPr id="40" name="Hline cutout" hidden="1">
            <a:extLst>
              <a:ext uri="{FF2B5EF4-FFF2-40B4-BE49-F238E27FC236}">
                <a16:creationId xmlns:a16="http://schemas.microsoft.com/office/drawing/2014/main" id="{F21AA64B-DEC4-4592-A269-011EE51DD4AB}"/>
              </a:ext>
            </a:extLst>
          </p:cNvPr>
          <p:cNvSpPr/>
          <p:nvPr userDrawn="1"/>
        </p:nvSpPr>
        <p:spPr>
          <a:xfrm>
            <a:off x="492295" y="3931468"/>
            <a:ext cx="663960" cy="6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cxnSp>
        <p:nvCxnSpPr>
          <p:cNvPr id="15" name="Hline">
            <a:extLst>
              <a:ext uri="{FF2B5EF4-FFF2-40B4-BE49-F238E27FC236}">
                <a16:creationId xmlns:a16="http://schemas.microsoft.com/office/drawing/2014/main" id="{CED59184-1FCB-491C-B108-0C922F0CD544}"/>
              </a:ext>
            </a:extLst>
          </p:cNvPr>
          <p:cNvCxnSpPr>
            <a:cxnSpLocks/>
          </p:cNvCxnSpPr>
          <p:nvPr userDrawn="1"/>
        </p:nvCxnSpPr>
        <p:spPr>
          <a:xfrm>
            <a:off x="492295" y="3933056"/>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8" name="Logo shape cutout" hidden="1">
            <a:extLst>
              <a:ext uri="{FF2B5EF4-FFF2-40B4-BE49-F238E27FC236}">
                <a16:creationId xmlns:a16="http://schemas.microsoft.com/office/drawing/2014/main" id="{CF3EF6B3-6446-4F99-A7F5-2442D70F7A87}"/>
              </a:ext>
            </a:extLst>
          </p:cNvPr>
          <p:cNvSpPr>
            <a:spLocks/>
          </p:cNvSpPr>
          <p:nvPr userDrawn="1"/>
        </p:nvSpPr>
        <p:spPr bwMode="auto">
          <a:xfrm>
            <a:off x="10730262" y="5358931"/>
            <a:ext cx="860833" cy="789456"/>
          </a:xfrm>
          <a:custGeom>
            <a:avLst/>
            <a:gdLst>
              <a:gd name="connsiteX0" fmla="*/ 0 w 860833"/>
              <a:gd name="connsiteY0" fmla="*/ 0 h 789456"/>
              <a:gd name="connsiteX1" fmla="*/ 842054 w 860833"/>
              <a:gd name="connsiteY1" fmla="*/ 0 h 789456"/>
              <a:gd name="connsiteX2" fmla="*/ 793797 w 860833"/>
              <a:gd name="connsiteY2" fmla="*/ 688571 h 789456"/>
              <a:gd name="connsiteX3" fmla="*/ 758409 w 860833"/>
              <a:gd name="connsiteY3" fmla="*/ 789456 h 789456"/>
              <a:gd name="connsiteX4" fmla="*/ 0 w 860833"/>
              <a:gd name="connsiteY4" fmla="*/ 789456 h 789456"/>
              <a:gd name="connsiteX5" fmla="*/ 0 w 860833"/>
              <a:gd name="connsiteY5" fmla="*/ 651896 h 789456"/>
              <a:gd name="connsiteX6" fmla="*/ 0 w 860833"/>
              <a:gd name="connsiteY6" fmla="*/ 0 h 789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0833" h="789456">
                <a:moveTo>
                  <a:pt x="0" y="0"/>
                </a:moveTo>
                <a:cubicBezTo>
                  <a:pt x="842054" y="0"/>
                  <a:pt x="842054" y="0"/>
                  <a:pt x="842054" y="0"/>
                </a:cubicBezTo>
                <a:cubicBezTo>
                  <a:pt x="874996" y="230865"/>
                  <a:pt x="867984" y="451672"/>
                  <a:pt x="793797" y="688571"/>
                </a:cubicBezTo>
                <a:lnTo>
                  <a:pt x="758409" y="789456"/>
                </a:lnTo>
                <a:lnTo>
                  <a:pt x="0" y="789456"/>
                </a:lnTo>
                <a:lnTo>
                  <a:pt x="0" y="651896"/>
                </a:lnTo>
                <a:cubicBezTo>
                  <a:pt x="0" y="0"/>
                  <a:pt x="0" y="0"/>
                  <a:pt x="0" y="0"/>
                </a:cubicBezTo>
                <a:close/>
              </a:path>
            </a:pathLst>
          </a:custGeom>
          <a:solidFill>
            <a:srgbClr val="FFFFFF"/>
          </a:solidFill>
          <a:ln w="0">
            <a:noFill/>
            <a:prstDash val="solid"/>
            <a:round/>
            <a:headEnd/>
            <a:tailEnd/>
          </a:ln>
        </p:spPr>
        <p:txBody>
          <a:bodyPr vert="horz" wrap="square" lIns="91440" tIns="45720" rIns="91440" bIns="45720" numCol="1" anchor="t" anchorCtr="0" compatLnSpc="1">
            <a:prstTxWarp prst="textNoShape">
              <a:avLst/>
            </a:prstTxWarp>
            <a:noAutofit/>
          </a:bodyPr>
          <a:lstStyle/>
          <a:p>
            <a:endParaRPr lang="en-US" noProof="0" dirty="0"/>
          </a:p>
        </p:txBody>
      </p:sp>
      <p:pic>
        <p:nvPicPr>
          <p:cNvPr id="18" name="IpsosLogo">
            <a:extLst>
              <a:ext uri="{FF2B5EF4-FFF2-40B4-BE49-F238E27FC236}">
                <a16:creationId xmlns:a16="http://schemas.microsoft.com/office/drawing/2014/main" id="{F6B28205-A4BA-4684-BCF0-CEAB02D80DD1}"/>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10730260" y="5358931"/>
            <a:ext cx="863743" cy="791160"/>
          </a:xfrm>
          <a:prstGeom prst="rect">
            <a:avLst/>
          </a:prstGeom>
        </p:spPr>
      </p:pic>
    </p:spTree>
    <p:extLst>
      <p:ext uri="{BB962C8B-B14F-4D97-AF65-F5344CB8AC3E}">
        <p14:creationId xmlns:p14="http://schemas.microsoft.com/office/powerpoint/2010/main" val="2197521968"/>
      </p:ext>
    </p:extLst>
  </p:cSld>
  <p:clrMapOvr>
    <a:masterClrMapping/>
  </p:clrMapOvr>
  <p:extLst>
    <p:ext uri="{DCECCB84-F9BA-43D5-87BE-67443E8EF086}">
      <p15:sldGuideLst xmlns:p15="http://schemas.microsoft.com/office/powerpoint/2012/main">
        <p15:guide id="3" orient="horz" pos="323">
          <p15:clr>
            <a:srgbClr val="FBAE40"/>
          </p15:clr>
        </p15:guide>
        <p15:guide id="4" orient="horz" pos="1888">
          <p15:clr>
            <a:srgbClr val="FBAE40"/>
          </p15:clr>
        </p15:guide>
        <p15:guide id="5" orient="horz" pos="3317">
          <p15:clr>
            <a:srgbClr val="FBAE40"/>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6" Type="http://schemas.openxmlformats.org/officeDocument/2006/relationships/slideLayout" Target="../slideLayouts/slideLayout76.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97" Type="http://schemas.openxmlformats.org/officeDocument/2006/relationships/image" Target="../media/image2.png"/><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slideLayout" Target="../slideLayouts/slideLayout87.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slideLayout" Target="../slideLayouts/slideLayout90.xml"/><Relationship Id="rId95" Type="http://schemas.openxmlformats.org/officeDocument/2006/relationships/oleObject" Target="../embeddings/oleObject1.bin"/><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100" Type="http://schemas.openxmlformats.org/officeDocument/2006/relationships/image" Target="../media/image5.png"/><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tags" Target="../tags/tag2.xml"/><Relationship Id="rId98" Type="http://schemas.openxmlformats.org/officeDocument/2006/relationships/image" Target="../media/image3.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theme" Target="../theme/theme1.xml"/><Relationship Id="rId9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tags" Target="../tags/tag3.xml"/><Relationship Id="rId99"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userDrawn="1">
            <p:custDataLst>
              <p:tags r:id="rId93"/>
            </p:custDataLst>
            <p:extLst>
              <p:ext uri="{D42A27DB-BD31-4B8C-83A1-F6EECF244321}">
                <p14:modId xmlns:p14="http://schemas.microsoft.com/office/powerpoint/2010/main" val="35123389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71" name="Diapositive think-cell" r:id="rId95" imgW="532" imgH="530" progId="TCLayout.ActiveDocument.1">
                  <p:embed/>
                </p:oleObj>
              </mc:Choice>
              <mc:Fallback>
                <p:oleObj name="Diapositive think-cell" r:id="rId95" imgW="532" imgH="530" progId="TCLayout.ActiveDocument.1">
                  <p:embed/>
                  <p:pic>
                    <p:nvPicPr>
                      <p:cNvPr id="0" name=""/>
                      <p:cNvPicPr/>
                      <p:nvPr/>
                    </p:nvPicPr>
                    <p:blipFill>
                      <a:blip r:embed="rId9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userDrawn="1">
            <p:custDataLst>
              <p:tags r:id="rId94"/>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80131"/>
          </a:xfrm>
          <a:prstGeom prst="rect">
            <a:avLst/>
          </a:prstGeom>
        </p:spPr>
        <p:txBody>
          <a:bodyPr vert="horz" wrap="square" lIns="72000" tIns="45720" rIns="72000" bIns="45720" rtlCol="0" anchor="t">
            <a:spAutoFit/>
          </a:bodyPr>
          <a:lstStyle/>
          <a:p>
            <a:endParaRPr lang="nb-NO" noProof="0" dirty="0"/>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04786" y="1808820"/>
            <a:ext cx="8319506" cy="3868080"/>
          </a:xfrm>
          <a:prstGeom prst="rect">
            <a:avLst/>
          </a:prstGeom>
        </p:spPr>
        <p:txBody>
          <a:bodyPr vert="horz" lIns="0" tIns="45720" rIns="0" bIns="45720" rtlCol="0">
            <a:noAutofit/>
          </a:bodyPr>
          <a:lstStyle/>
          <a:p>
            <a:pPr lvl="0"/>
            <a:r>
              <a:rPr lang="nb-NO" noProof="0" dirty="0" err="1"/>
              <a:t>Click</a:t>
            </a:r>
            <a:r>
              <a:rPr lang="nb-NO" noProof="0" dirty="0"/>
              <a:t> to </a:t>
            </a:r>
            <a:r>
              <a:rPr lang="nb-NO" noProof="0" dirty="0" err="1"/>
              <a:t>change</a:t>
            </a:r>
            <a:r>
              <a:rPr lang="nb-NO" noProof="0" dirty="0"/>
              <a:t> </a:t>
            </a:r>
            <a:r>
              <a:rPr lang="nb-NO" noProof="0" dirty="0" err="1"/>
              <a:t>the</a:t>
            </a:r>
            <a:r>
              <a:rPr lang="nb-NO" noProof="0" dirty="0"/>
              <a:t> </a:t>
            </a:r>
            <a:r>
              <a:rPr lang="nb-NO" noProof="0" dirty="0" err="1"/>
              <a:t>text</a:t>
            </a:r>
            <a:r>
              <a:rPr lang="nb-NO" noProof="0" dirty="0"/>
              <a:t> styles </a:t>
            </a:r>
            <a:r>
              <a:rPr lang="nb-NO" noProof="0" dirty="0" err="1"/>
              <a:t>on</a:t>
            </a:r>
            <a:r>
              <a:rPr lang="nb-NO" noProof="0" dirty="0"/>
              <a:t> </a:t>
            </a:r>
            <a:r>
              <a:rPr lang="nb-NO" noProof="0" dirty="0" err="1"/>
              <a:t>the</a:t>
            </a:r>
            <a:r>
              <a:rPr lang="nb-NO" noProof="0" dirty="0"/>
              <a:t> slide master</a:t>
            </a:r>
          </a:p>
          <a:p>
            <a:pPr lvl="1"/>
            <a:r>
              <a:rPr lang="nb-NO" noProof="0" dirty="0"/>
              <a:t>Tekst nivå 1</a:t>
            </a:r>
          </a:p>
          <a:p>
            <a:pPr lvl="2"/>
            <a:r>
              <a:rPr lang="nb-NO" noProof="0" dirty="0"/>
              <a:t>Tekst nivå 2</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2">
                    <a:lumMod val="75000"/>
                  </a:schemeClr>
                </a:solidFill>
                <a:latin typeface="+mj-lt"/>
              </a:defRPr>
            </a:lvl1pPr>
          </a:lstStyle>
          <a:p>
            <a:fld id="{D61AABEC-672F-4B68-B914-690DA978312C}" type="slidenum">
              <a:rPr lang="nb-NO" noProof="0" smtClean="0"/>
              <a:pPr/>
              <a:t>‹#›</a:t>
            </a:fld>
            <a:r>
              <a:rPr lang="nb-NO" noProof="0" dirty="0"/>
              <a:t> ‒ </a:t>
            </a:r>
          </a:p>
        </p:txBody>
      </p:sp>
      <p:sp>
        <p:nvSpPr>
          <p:cNvPr id="11" name="Espace réservé du pied de page 4">
            <a:extLst>
              <a:ext uri="{FF2B5EF4-FFF2-40B4-BE49-F238E27FC236}">
                <a16:creationId xmlns:a16="http://schemas.microsoft.com/office/drawing/2014/main" id="{14F23E25-9FFE-4257-90E6-350B5249631F}"/>
              </a:ext>
            </a:extLst>
          </p:cNvPr>
          <p:cNvSpPr txBox="1">
            <a:spLocks/>
          </p:cNvSpPr>
          <p:nvPr userDrawn="1"/>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nb-NO" noProof="0" dirty="0"/>
              <a:t>© Ipsos 2022</a:t>
            </a:r>
          </a:p>
        </p:txBody>
      </p:sp>
      <p:pic>
        <p:nvPicPr>
          <p:cNvPr id="12" name="Graphique 8">
            <a:extLst>
              <a:ext uri="{FF2B5EF4-FFF2-40B4-BE49-F238E27FC236}">
                <a16:creationId xmlns:a16="http://schemas.microsoft.com/office/drawing/2014/main" id="{11C5A540-F007-4FEB-B81F-D7A7222E2502}"/>
              </a:ext>
            </a:extLst>
          </p:cNvPr>
          <p:cNvPicPr>
            <a:picLocks noChangeAspect="1"/>
          </p:cNvPicPr>
          <p:nvPr userDrawn="1"/>
        </p:nvPicPr>
        <p:blipFill>
          <a:blip r:embed="rId97">
            <a:extLst>
              <a:ext uri="{28A0092B-C50C-407E-A947-70E740481C1C}">
                <a14:useLocalDpi xmlns:a14="http://schemas.microsoft.com/office/drawing/2010/main" val="0"/>
              </a:ext>
            </a:extLst>
          </a:blip>
          <a:srcRect/>
          <a:stretch/>
        </p:blipFill>
        <p:spPr>
          <a:xfrm>
            <a:off x="11303005" y="6172200"/>
            <a:ext cx="501320" cy="459192"/>
          </a:xfrm>
          <a:prstGeom prst="rect">
            <a:avLst/>
          </a:prstGeom>
        </p:spPr>
      </p:pic>
      <p:sp>
        <p:nvSpPr>
          <p:cNvPr id="9" name="Cadre 8">
            <a:extLst>
              <a:ext uri="{FF2B5EF4-FFF2-40B4-BE49-F238E27FC236}">
                <a16:creationId xmlns:a16="http://schemas.microsoft.com/office/drawing/2014/main" id="{DADADD2C-AA31-4B61-9336-3D1B1D6CDBAD}"/>
              </a:ext>
            </a:extLst>
          </p:cNvPr>
          <p:cNvSpPr/>
          <p:nvPr userDrawn="1"/>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noProof="0" dirty="0">
              <a:solidFill>
                <a:schemeClr val="tx1"/>
              </a:solidFill>
            </a:endParaRPr>
          </a:p>
        </p:txBody>
      </p:sp>
      <p:pic>
        <p:nvPicPr>
          <p:cNvPr id="10" name="Revision_img_OK" descr="A picture containing object, clock&#10;&#10;Description automatically generated" hidden="1">
            <a:extLst>
              <a:ext uri="{FF2B5EF4-FFF2-40B4-BE49-F238E27FC236}">
                <a16:creationId xmlns:a16="http://schemas.microsoft.com/office/drawing/2014/main" id="{90F914F6-906F-4E25-9BE6-53FE5885F1DE}"/>
              </a:ext>
            </a:extLst>
          </p:cNvPr>
          <p:cNvPicPr>
            <a:picLocks noChangeAspect="1"/>
          </p:cNvPicPr>
          <p:nvPr userDrawn="1"/>
        </p:nvPicPr>
        <p:blipFill>
          <a:blip r:embed="rId98" cstate="email">
            <a:extLst>
              <a:ext uri="{28A0092B-C50C-407E-A947-70E740481C1C}">
                <a14:useLocalDpi xmlns:a14="http://schemas.microsoft.com/office/drawing/2010/main"/>
              </a:ext>
            </a:extLst>
          </a:blip>
          <a:stretch>
            <a:fillRect/>
          </a:stretch>
        </p:blipFill>
        <p:spPr>
          <a:xfrm>
            <a:off x="11472000" y="0"/>
            <a:ext cx="720000" cy="720000"/>
          </a:xfrm>
          <a:prstGeom prst="rect">
            <a:avLst/>
          </a:prstGeom>
        </p:spPr>
      </p:pic>
      <p:pic>
        <p:nvPicPr>
          <p:cNvPr id="13" name="Revision_img_REV" descr="A picture containing object, clock&#10;&#10;Description automatically generated" hidden="1">
            <a:extLst>
              <a:ext uri="{FF2B5EF4-FFF2-40B4-BE49-F238E27FC236}">
                <a16:creationId xmlns:a16="http://schemas.microsoft.com/office/drawing/2014/main" id="{96003CBF-6D4A-4C39-A063-14E8EB98058E}"/>
              </a:ext>
            </a:extLst>
          </p:cNvPr>
          <p:cNvPicPr>
            <a:picLocks noChangeAspect="1"/>
          </p:cNvPicPr>
          <p:nvPr userDrawn="1"/>
        </p:nvPicPr>
        <p:blipFill>
          <a:blip r:embed="rId99" cstate="email">
            <a:extLst>
              <a:ext uri="{28A0092B-C50C-407E-A947-70E740481C1C}">
                <a14:useLocalDpi xmlns:a14="http://schemas.microsoft.com/office/drawing/2010/main"/>
              </a:ext>
            </a:extLst>
          </a:blip>
          <a:stretch>
            <a:fillRect/>
          </a:stretch>
        </p:blipFill>
        <p:spPr>
          <a:xfrm>
            <a:off x="11472000" y="0"/>
            <a:ext cx="720000" cy="720000"/>
          </a:xfrm>
          <a:prstGeom prst="rect">
            <a:avLst/>
          </a:prstGeom>
        </p:spPr>
      </p:pic>
      <p:pic>
        <p:nvPicPr>
          <p:cNvPr id="14" name="Revision_img_PEND" descr="A close up of a clock&#10;&#10;Description automatically generated" hidden="1">
            <a:extLst>
              <a:ext uri="{FF2B5EF4-FFF2-40B4-BE49-F238E27FC236}">
                <a16:creationId xmlns:a16="http://schemas.microsoft.com/office/drawing/2014/main" id="{9632DC18-67AA-46BF-9CC0-D97AF57AC63B}"/>
              </a:ext>
            </a:extLst>
          </p:cNvPr>
          <p:cNvPicPr>
            <a:picLocks noChangeAspect="1"/>
          </p:cNvPicPr>
          <p:nvPr userDrawn="1"/>
        </p:nvPicPr>
        <p:blipFill>
          <a:blip r:embed="rId100" cstate="email">
            <a:extLst>
              <a:ext uri="{28A0092B-C50C-407E-A947-70E740481C1C}">
                <a14:useLocalDpi xmlns:a14="http://schemas.microsoft.com/office/drawing/2010/main"/>
              </a:ext>
            </a:extLst>
          </a:blip>
          <a:stretch>
            <a:fillRect/>
          </a:stretch>
        </p:blipFill>
        <p:spPr>
          <a:xfrm>
            <a:off x="11472000" y="0"/>
            <a:ext cx="720000" cy="720000"/>
          </a:xfrm>
          <a:prstGeom prst="rect">
            <a:avLst/>
          </a:prstGeom>
        </p:spPr>
      </p:pic>
      <p:graphicFrame>
        <p:nvGraphicFramePr>
          <p:cNvPr id="15" name="IpsosToolbar_Briefing_Slide" hidden="1">
            <a:extLst>
              <a:ext uri="{FF2B5EF4-FFF2-40B4-BE49-F238E27FC236}">
                <a16:creationId xmlns:a16="http://schemas.microsoft.com/office/drawing/2014/main" id="{83366E09-FBED-4354-B767-4D0648066510}"/>
              </a:ext>
            </a:extLst>
          </p:cNvPr>
          <p:cNvGraphicFramePr>
            <a:graphicFrameLocks noGrp="1"/>
          </p:cNvGraphicFramePr>
          <p:nvPr userDrawn="1">
            <p:extLst>
              <p:ext uri="{D42A27DB-BD31-4B8C-83A1-F6EECF244321}">
                <p14:modId xmlns:p14="http://schemas.microsoft.com/office/powerpoint/2010/main" val="3152469363"/>
              </p:ext>
            </p:extLst>
          </p:nvPr>
        </p:nvGraphicFramePr>
        <p:xfrm>
          <a:off x="0" y="679520"/>
          <a:ext cx="4320000" cy="1440000"/>
        </p:xfrm>
        <a:graphic>
          <a:graphicData uri="http://schemas.openxmlformats.org/drawingml/2006/table">
            <a:tbl>
              <a:tblPr firstRow="1" bandRow="1">
                <a:tableStyleId>{2D5ABB26-0587-4C30-8999-92F81FD0307C}</a:tableStyleId>
              </a:tblPr>
              <a:tblGrid>
                <a:gridCol w="1584000">
                  <a:extLst>
                    <a:ext uri="{9D8B030D-6E8A-4147-A177-3AD203B41FA5}">
                      <a16:colId xmlns:a16="http://schemas.microsoft.com/office/drawing/2014/main" val="680429793"/>
                    </a:ext>
                  </a:extLst>
                </a:gridCol>
                <a:gridCol w="2736000">
                  <a:extLst>
                    <a:ext uri="{9D8B030D-6E8A-4147-A177-3AD203B41FA5}">
                      <a16:colId xmlns:a16="http://schemas.microsoft.com/office/drawing/2014/main" val="1717690144"/>
                    </a:ext>
                  </a:extLst>
                </a:gridCol>
              </a:tblGrid>
              <a:tr h="180000">
                <a:tc>
                  <a:txBody>
                    <a:bodyPr/>
                    <a:lstStyle/>
                    <a:p>
                      <a:r>
                        <a:rPr lang="en-US" sz="900" b="1" dirty="0">
                          <a:solidFill>
                            <a:srgbClr val="292929"/>
                          </a:solidFill>
                          <a:latin typeface="Arial" panose="020B0604020202020204" pitchFamily="34" charset="0"/>
                          <a:cs typeface="Arial" panose="020B0604020202020204" pitchFamily="34" charset="0"/>
                        </a:rPr>
                        <a:t>Base description (filter)</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15892294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Banner info</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2617901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Table/Question number/title</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589288394"/>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Break</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794224127"/>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Slide/Chart </a:t>
                      </a:r>
                      <a:r>
                        <a:rPr lang="en-US" sz="900" b="0" i="0" dirty="0">
                          <a:solidFill>
                            <a:srgbClr val="292929"/>
                          </a:solidFill>
                          <a:latin typeface="Arial" panose="020B0604020202020204" pitchFamily="34" charset="0"/>
                          <a:cs typeface="Arial" panose="020B0604020202020204" pitchFamily="34" charset="0"/>
                        </a:rPr>
                        <a:t>(if not in library!)</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4119806022"/>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Ranking</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03503531"/>
                  </a:ext>
                </a:extLst>
              </a:tr>
              <a:tr h="180000">
                <a:tc>
                  <a:txBody>
                    <a:bodyPr/>
                    <a:lstStyle/>
                    <a:p>
                      <a:r>
                        <a:rPr lang="en-US" sz="900" b="1" dirty="0">
                          <a:solidFill>
                            <a:srgbClr val="292929"/>
                          </a:solidFill>
                          <a:latin typeface="Arial" panose="020B0604020202020204" pitchFamily="34" charset="0"/>
                          <a:cs typeface="Arial" panose="020B0604020202020204" pitchFamily="34" charset="0"/>
                        </a:rPr>
                        <a:t>Sigs</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012447535"/>
                  </a:ext>
                </a:extLst>
              </a:tr>
              <a:tr h="180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b="1" dirty="0">
                          <a:solidFill>
                            <a:srgbClr val="292929"/>
                          </a:solidFill>
                          <a:latin typeface="Arial" panose="020B0604020202020204" pitchFamily="34" charset="0"/>
                          <a:cs typeface="Arial" panose="020B0604020202020204" pitchFamily="34" charset="0"/>
                        </a:rPr>
                        <a:t>Extra instruction</a:t>
                      </a:r>
                    </a:p>
                  </a:txBody>
                  <a:tcPr marL="36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extLst>
                  <a:ext uri="{0D108BD9-81ED-4DB2-BD59-A6C34878D82A}">
                    <a16:rowId xmlns:a16="http://schemas.microsoft.com/office/drawing/2014/main" val="3782981876"/>
                  </a:ext>
                </a:extLst>
              </a:tr>
            </a:tbl>
          </a:graphicData>
        </a:graphic>
      </p:graphicFrame>
      <p:graphicFrame>
        <p:nvGraphicFramePr>
          <p:cNvPr id="16" name="IpsosToolbar_Briefing_General" hidden="1">
            <a:extLst>
              <a:ext uri="{FF2B5EF4-FFF2-40B4-BE49-F238E27FC236}">
                <a16:creationId xmlns:a16="http://schemas.microsoft.com/office/drawing/2014/main" id="{3C8EA7EC-913A-40D2-8021-2F87EC2F73FB}"/>
              </a:ext>
            </a:extLst>
          </p:cNvPr>
          <p:cNvGraphicFramePr>
            <a:graphicFrameLocks noGrp="1"/>
          </p:cNvGraphicFramePr>
          <p:nvPr userDrawn="1">
            <p:extLst>
              <p:ext uri="{D42A27DB-BD31-4B8C-83A1-F6EECF244321}">
                <p14:modId xmlns:p14="http://schemas.microsoft.com/office/powerpoint/2010/main" val="955918656"/>
              </p:ext>
            </p:extLst>
          </p:nvPr>
        </p:nvGraphicFramePr>
        <p:xfrm>
          <a:off x="0" y="-1"/>
          <a:ext cx="4320000" cy="2700000"/>
        </p:xfrm>
        <a:graphic>
          <a:graphicData uri="http://schemas.openxmlformats.org/drawingml/2006/table">
            <a:tbl>
              <a:tblPr firstRow="1" bandRow="1">
                <a:tableStyleId>{2D5ABB26-0587-4C30-8999-92F81FD0307C}</a:tableStyleId>
              </a:tblPr>
              <a:tblGrid>
                <a:gridCol w="1584000">
                  <a:extLst>
                    <a:ext uri="{9D8B030D-6E8A-4147-A177-3AD203B41FA5}">
                      <a16:colId xmlns:a16="http://schemas.microsoft.com/office/drawing/2014/main" val="680429793"/>
                    </a:ext>
                  </a:extLst>
                </a:gridCol>
                <a:gridCol w="2736000">
                  <a:extLst>
                    <a:ext uri="{9D8B030D-6E8A-4147-A177-3AD203B41FA5}">
                      <a16:colId xmlns:a16="http://schemas.microsoft.com/office/drawing/2014/main" val="1717690144"/>
                    </a:ext>
                  </a:extLst>
                </a:gridCol>
              </a:tblGrid>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PROJECT TIMINGS &amp; BATCHES </a:t>
                      </a:r>
                      <a:r>
                        <a:rPr lang="en-GB" sz="900" dirty="0">
                          <a:solidFill>
                            <a:srgbClr val="292929"/>
                          </a:solidFill>
                          <a:latin typeface="Arial" panose="020B0604020202020204" pitchFamily="34" charset="0"/>
                          <a:cs typeface="Arial" panose="020B0604020202020204" pitchFamily="34" charset="0"/>
                        </a:rPr>
                        <a:t>(intermediate deadlines)</a:t>
                      </a:r>
                      <a:r>
                        <a:rPr lang="en-GB" sz="900" b="1" dirty="0">
                          <a:solidFill>
                            <a:srgbClr val="292929"/>
                          </a:solidFill>
                          <a:latin typeface="Arial" panose="020B0604020202020204" pitchFamily="34" charset="0"/>
                          <a:cs typeface="Arial" panose="020B0604020202020204" pitchFamily="34" charset="0"/>
                        </a:rPr>
                        <a:t>:</a:t>
                      </a:r>
                      <a:endParaRPr lang="en-GB" sz="1000" b="1" dirty="0">
                        <a:solidFill>
                          <a:srgbClr val="292929"/>
                        </a:solidFill>
                        <a:latin typeface="Arial" panose="020B0604020202020204" pitchFamily="34" charset="0"/>
                        <a:cs typeface="Arial" panose="020B0604020202020204" pitchFamily="34" charset="0"/>
                      </a:endParaRP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28575" cap="flat" cmpd="sng" algn="ctr">
                      <a:solidFill>
                        <a:srgbClr val="FF0000"/>
                      </a:solidFill>
                      <a:prstDash val="sysDash"/>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tcPr>
                </a:tc>
                <a:extLst>
                  <a:ext uri="{0D108BD9-81ED-4DB2-BD59-A6C34878D82A}">
                    <a16:rowId xmlns:a16="http://schemas.microsoft.com/office/drawing/2014/main" val="3540381696"/>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First review momen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15892294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Batch 1, 2, ...</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2617901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Deadline full repor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extLst>
                  <a:ext uri="{0D108BD9-81ED-4DB2-BD59-A6C34878D82A}">
                    <a16:rowId xmlns:a16="http://schemas.microsoft.com/office/drawing/2014/main" val="589288394"/>
                  </a:ext>
                </a:extLst>
              </a:tr>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PROJECT INFO</a:t>
                      </a: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9525" cap="flat" cmpd="sng" algn="ctr">
                      <a:solidFill>
                        <a:srgbClr val="FF0000"/>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lnT w="63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3404247477"/>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794224127"/>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roject title</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4119806022"/>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Clien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903503531"/>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Project leader</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9525" cap="flat" cmpd="sng" algn="ctr">
                      <a:solidFill>
                        <a:srgbClr val="FF0000"/>
                      </a:solidFill>
                      <a:prstDash val="solid"/>
                      <a:round/>
                      <a:headEnd type="none" w="med" len="med"/>
                      <a:tailEnd type="none" w="med" len="med"/>
                    </a:lnB>
                    <a:solidFill>
                      <a:srgbClr val="FAE4D3"/>
                    </a:solidFill>
                  </a:tcPr>
                </a:tc>
                <a:extLst>
                  <a:ext uri="{0D108BD9-81ED-4DB2-BD59-A6C34878D82A}">
                    <a16:rowId xmlns:a16="http://schemas.microsoft.com/office/drawing/2014/main" val="2012447535"/>
                  </a:ext>
                </a:extLst>
              </a:tr>
              <a:tr h="180000">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solidFill>
                            <a:srgbClr val="292929"/>
                          </a:solidFill>
                          <a:latin typeface="Arial" panose="020B0604020202020204" pitchFamily="34" charset="0"/>
                          <a:cs typeface="Arial" panose="020B0604020202020204" pitchFamily="34" charset="0"/>
                        </a:rPr>
                        <a:t>BRIEFING INSTRUCTIONS</a:t>
                      </a:r>
                    </a:p>
                  </a:txBody>
                  <a:tcPr marL="36000" marR="36000" marT="0" marB="0" anchor="ctr">
                    <a:lnL w="28575" cap="flat" cmpd="sng" algn="ctr">
                      <a:solidFill>
                        <a:srgbClr val="FF0000"/>
                      </a:solidFill>
                      <a:prstDash val="sysDash"/>
                      <a:round/>
                      <a:headEnd type="none" w="med" len="med"/>
                      <a:tailEnd type="none" w="med" len="med"/>
                    </a:lnL>
                    <a:lnR w="28575" cap="flat" cmpd="sng" algn="ctr">
                      <a:solidFill>
                        <a:srgbClr val="FF0000"/>
                      </a:solidFill>
                      <a:prstDash val="sysDash"/>
                      <a:round/>
                      <a:headEnd type="none" w="med" len="med"/>
                      <a:tailEnd type="none" w="med" len="med"/>
                    </a:lnR>
                    <a:lnT w="9525" cap="flat" cmpd="sng" algn="ctr">
                      <a:solidFill>
                        <a:srgbClr val="FF0000"/>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hMerge="1">
                  <a:txBody>
                    <a:bodyPr/>
                    <a:lstStyle/>
                    <a:p>
                      <a:endParaRPr lang="en-US" sz="900" dirty="0">
                        <a:solidFill>
                          <a:schemeClr val="tx1"/>
                        </a:solidFill>
                      </a:endParaRPr>
                    </a:p>
                  </a:txBody>
                  <a:tcPr marL="0" marR="0" marT="0" marB="0">
                    <a:lnL w="28575" cap="flat" cmpd="sng" algn="ctr">
                      <a:solidFill>
                        <a:srgbClr val="FF0000"/>
                      </a:solidFill>
                      <a:prstDash val="sysDash"/>
                      <a:round/>
                      <a:headEnd type="none" w="med" len="med"/>
                      <a:tailEnd type="none" w="med" len="med"/>
                    </a:lnL>
                    <a:lnT w="635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4281120632"/>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Overall project instruc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816729115"/>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Conclusion layout</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2775208648"/>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Report language</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3620477378"/>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Low base size indica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6350" cap="flat" cmpd="sng" algn="ctr">
                      <a:solidFill>
                        <a:srgbClr val="A6A6A6"/>
                      </a:solidFill>
                      <a:prstDash val="solid"/>
                      <a:round/>
                      <a:headEnd type="none" w="med" len="med"/>
                      <a:tailEnd type="none" w="med" len="med"/>
                    </a:lnB>
                    <a:solidFill>
                      <a:srgbClr val="FAE4D3"/>
                    </a:solidFill>
                  </a:tcPr>
                </a:tc>
                <a:extLst>
                  <a:ext uri="{0D108BD9-81ED-4DB2-BD59-A6C34878D82A}">
                    <a16:rowId xmlns:a16="http://schemas.microsoft.com/office/drawing/2014/main" val="1265250029"/>
                  </a:ext>
                </a:extLst>
              </a:tr>
              <a:tr h="180000">
                <a:tc>
                  <a:txBody>
                    <a:bodyPr/>
                    <a:lstStyle/>
                    <a:p>
                      <a:r>
                        <a:rPr lang="en-GB" sz="900" b="1" dirty="0">
                          <a:solidFill>
                            <a:srgbClr val="292929"/>
                          </a:solidFill>
                          <a:latin typeface="Arial" panose="020B0604020202020204" pitchFamily="34" charset="0"/>
                          <a:cs typeface="Arial" panose="020B0604020202020204" pitchFamily="34" charset="0"/>
                        </a:rPr>
                        <a:t>Extra instruction</a:t>
                      </a:r>
                      <a:endParaRPr lang="en-US" sz="900" b="1" dirty="0">
                        <a:solidFill>
                          <a:srgbClr val="292929"/>
                        </a:solidFill>
                        <a:latin typeface="Arial" panose="020B0604020202020204" pitchFamily="34" charset="0"/>
                        <a:cs typeface="Arial" panose="020B0604020202020204" pitchFamily="34" charset="0"/>
                      </a:endParaRPr>
                    </a:p>
                  </a:txBody>
                  <a:tcPr marL="108000" marR="36000" marT="0" marB="0">
                    <a:lnL w="28575" cap="flat" cmpd="sng" algn="ctr">
                      <a:solidFill>
                        <a:srgbClr val="FF0000"/>
                      </a:solidFill>
                      <a:prstDash val="sysDash"/>
                      <a:round/>
                      <a:headEnd type="none" w="med" len="med"/>
                      <a:tailEnd type="none" w="med" len="med"/>
                    </a:lnL>
                    <a:lnR w="6350" cap="flat" cmpd="sng" algn="ctr">
                      <a:solidFill>
                        <a:srgbClr val="A6A6A6"/>
                      </a:solidFill>
                      <a:prstDash val="solid"/>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tc>
                  <a:txBody>
                    <a:bodyPr/>
                    <a:lstStyle/>
                    <a:p>
                      <a:endParaRPr lang="en-US" sz="900" dirty="0">
                        <a:solidFill>
                          <a:srgbClr val="292929"/>
                        </a:solidFill>
                        <a:latin typeface="Arial" panose="020B0604020202020204" pitchFamily="34" charset="0"/>
                        <a:cs typeface="Arial" panose="020B0604020202020204" pitchFamily="34" charset="0"/>
                      </a:endParaRPr>
                    </a:p>
                  </a:txBody>
                  <a:tcPr marL="36000" marR="36000" marT="0" marB="0">
                    <a:lnL w="6350" cap="flat" cmpd="sng" algn="ctr">
                      <a:solidFill>
                        <a:srgbClr val="A6A6A6"/>
                      </a:solidFill>
                      <a:prstDash val="solid"/>
                      <a:round/>
                      <a:headEnd type="none" w="med" len="med"/>
                      <a:tailEnd type="none" w="med" len="med"/>
                    </a:lnL>
                    <a:lnR w="28575" cap="flat" cmpd="sng" algn="ctr">
                      <a:solidFill>
                        <a:srgbClr val="FF0000"/>
                      </a:solidFill>
                      <a:prstDash val="sysDash"/>
                      <a:round/>
                      <a:headEnd type="none" w="med" len="med"/>
                      <a:tailEnd type="none" w="med" len="med"/>
                    </a:lnR>
                    <a:lnT w="6350" cap="flat" cmpd="sng" algn="ctr">
                      <a:solidFill>
                        <a:srgbClr val="A6A6A6"/>
                      </a:solidFill>
                      <a:prstDash val="solid"/>
                      <a:round/>
                      <a:headEnd type="none" w="med" len="med"/>
                      <a:tailEnd type="none" w="med" len="med"/>
                    </a:lnT>
                    <a:lnB w="28575" cap="flat" cmpd="sng" algn="ctr">
                      <a:solidFill>
                        <a:srgbClr val="FF0000"/>
                      </a:solidFill>
                      <a:prstDash val="sysDash"/>
                      <a:round/>
                      <a:headEnd type="none" w="med" len="med"/>
                      <a:tailEnd type="none" w="med" len="med"/>
                    </a:lnB>
                    <a:solidFill>
                      <a:srgbClr val="FAE4D3"/>
                    </a:solidFill>
                  </a:tcPr>
                </a:tc>
                <a:extLst>
                  <a:ext uri="{0D108BD9-81ED-4DB2-BD59-A6C34878D82A}">
                    <a16:rowId xmlns:a16="http://schemas.microsoft.com/office/drawing/2014/main" val="3782981876"/>
                  </a:ext>
                </a:extLst>
              </a:tr>
            </a:tbl>
          </a:graphicData>
        </a:graphic>
      </p:graphicFrame>
      <p:sp>
        <p:nvSpPr>
          <p:cNvPr id="17" name="SigLetters" hidden="1">
            <a:extLst>
              <a:ext uri="{FF2B5EF4-FFF2-40B4-BE49-F238E27FC236}">
                <a16:creationId xmlns:a16="http://schemas.microsoft.com/office/drawing/2014/main" id="{8843C21B-E03D-42B6-8218-F41EA81E2772}"/>
              </a:ext>
            </a:extLst>
          </p:cNvPr>
          <p:cNvSpPr txBox="1"/>
          <p:nvPr userDrawn="1"/>
        </p:nvSpPr>
        <p:spPr>
          <a:xfrm>
            <a:off x="12269749" y="592722"/>
            <a:ext cx="175295" cy="184666"/>
          </a:xfrm>
          <a:prstGeom prst="rect">
            <a:avLst/>
          </a:prstGeom>
          <a:noFill/>
        </p:spPr>
        <p:txBody>
          <a:bodyPr wrap="none" lIns="36000" tIns="0" rIns="36000" bIns="0" rtlCol="0" anchor="ctr">
            <a:spAutoFit/>
          </a:bodyPr>
          <a:lstStyle/>
          <a:p>
            <a:pPr algn="l"/>
            <a:r>
              <a:rPr lang="en-US" sz="1200" dirty="0">
                <a:solidFill>
                  <a:schemeClr val="bg2"/>
                </a:solidFill>
              </a:rPr>
              <a:t>A</a:t>
            </a:r>
          </a:p>
        </p:txBody>
      </p:sp>
      <p:sp>
        <p:nvSpPr>
          <p:cNvPr id="18" name="SigLettersWhite" hidden="1">
            <a:extLst>
              <a:ext uri="{FF2B5EF4-FFF2-40B4-BE49-F238E27FC236}">
                <a16:creationId xmlns:a16="http://schemas.microsoft.com/office/drawing/2014/main" id="{EBB37DF7-A1FB-4DA8-8A91-C9BA1A47FAD2}"/>
              </a:ext>
            </a:extLst>
          </p:cNvPr>
          <p:cNvSpPr txBox="1"/>
          <p:nvPr userDrawn="1"/>
        </p:nvSpPr>
        <p:spPr>
          <a:xfrm>
            <a:off x="12567513" y="592722"/>
            <a:ext cx="175295" cy="184666"/>
          </a:xfrm>
          <a:prstGeom prst="rect">
            <a:avLst/>
          </a:prstGeom>
          <a:noFill/>
        </p:spPr>
        <p:txBody>
          <a:bodyPr wrap="none" lIns="36000" tIns="0" rIns="36000" bIns="0" rtlCol="0" anchor="ctr">
            <a:spAutoFit/>
          </a:bodyPr>
          <a:lstStyle/>
          <a:p>
            <a:pPr algn="ctr"/>
            <a:r>
              <a:rPr lang="en-US" sz="1200" dirty="0">
                <a:solidFill>
                  <a:schemeClr val="bg1"/>
                </a:solidFill>
              </a:rPr>
              <a:t>A</a:t>
            </a:r>
          </a:p>
        </p:txBody>
      </p:sp>
      <p:grpSp>
        <p:nvGrpSpPr>
          <p:cNvPr id="19" name="SigEvoPos" hidden="1">
            <a:extLst>
              <a:ext uri="{FF2B5EF4-FFF2-40B4-BE49-F238E27FC236}">
                <a16:creationId xmlns:a16="http://schemas.microsoft.com/office/drawing/2014/main" id="{F3C939FA-B9F5-4812-B674-DE16D0CC5647}"/>
              </a:ext>
            </a:extLst>
          </p:cNvPr>
          <p:cNvGrpSpPr/>
          <p:nvPr userDrawn="1"/>
        </p:nvGrpSpPr>
        <p:grpSpPr>
          <a:xfrm>
            <a:off x="12251885" y="0"/>
            <a:ext cx="216000" cy="216000"/>
            <a:chOff x="7716328" y="2107098"/>
            <a:chExt cx="216000" cy="216000"/>
          </a:xfrm>
        </p:grpSpPr>
        <p:sp>
          <p:nvSpPr>
            <p:cNvPr id="20" name="Oval 35">
              <a:extLst>
                <a:ext uri="{FF2B5EF4-FFF2-40B4-BE49-F238E27FC236}">
                  <a16:creationId xmlns:a16="http://schemas.microsoft.com/office/drawing/2014/main" id="{3F3F4680-BDEB-435D-B4F7-4532E2CFBDF5}"/>
                </a:ext>
              </a:extLst>
            </p:cNvPr>
            <p:cNvSpPr/>
            <p:nvPr/>
          </p:nvSpPr>
          <p:spPr>
            <a:xfrm>
              <a:off x="7716328" y="2107098"/>
              <a:ext cx="216000" cy="216000"/>
            </a:xfrm>
            <a:prstGeom prst="ellipse">
              <a:avLst/>
            </a:prstGeom>
            <a:gradFill flip="none" rotWithShape="1">
              <a:gsLst>
                <a:gs pos="50000">
                  <a:schemeClr val="tx2"/>
                </a:gs>
                <a:gs pos="50000">
                  <a:schemeClr val="tx2">
                    <a:lumMod val="75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21" name="Group 36">
              <a:extLst>
                <a:ext uri="{FF2B5EF4-FFF2-40B4-BE49-F238E27FC236}">
                  <a16:creationId xmlns:a16="http://schemas.microsoft.com/office/drawing/2014/main" id="{73C3F0E2-2AF0-45E0-9A5A-406691D73D85}"/>
                </a:ext>
              </a:extLst>
            </p:cNvPr>
            <p:cNvGrpSpPr>
              <a:grpSpLocks noChangeAspect="1"/>
            </p:cNvGrpSpPr>
            <p:nvPr/>
          </p:nvGrpSpPr>
          <p:grpSpPr>
            <a:xfrm rot="18900000">
              <a:off x="7758327" y="2179098"/>
              <a:ext cx="132003" cy="72000"/>
              <a:chOff x="10144608" y="897887"/>
              <a:chExt cx="326542" cy="178110"/>
            </a:xfrm>
          </p:grpSpPr>
          <p:sp>
            <p:nvSpPr>
              <p:cNvPr id="22" name="Line 34">
                <a:extLst>
                  <a:ext uri="{FF2B5EF4-FFF2-40B4-BE49-F238E27FC236}">
                    <a16:creationId xmlns:a16="http://schemas.microsoft.com/office/drawing/2014/main" id="{E82DC4A0-BBBE-490F-A091-03E4C134E358}"/>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 name="Rectangle 11">
                <a:extLst>
                  <a:ext uri="{FF2B5EF4-FFF2-40B4-BE49-F238E27FC236}">
                    <a16:creationId xmlns:a16="http://schemas.microsoft.com/office/drawing/2014/main" id="{3964423F-1434-4E52-B701-BAF5C8CB73B8}"/>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24" name="SigEvoNeg" hidden="1">
            <a:extLst>
              <a:ext uri="{FF2B5EF4-FFF2-40B4-BE49-F238E27FC236}">
                <a16:creationId xmlns:a16="http://schemas.microsoft.com/office/drawing/2014/main" id="{93C0B7E9-4482-4C9F-8802-A8041EBEA211}"/>
              </a:ext>
            </a:extLst>
          </p:cNvPr>
          <p:cNvGrpSpPr/>
          <p:nvPr userDrawn="1"/>
        </p:nvGrpSpPr>
        <p:grpSpPr>
          <a:xfrm>
            <a:off x="12547160" y="0"/>
            <a:ext cx="216000" cy="216000"/>
            <a:chOff x="8011603" y="2107098"/>
            <a:chExt cx="216000" cy="216000"/>
          </a:xfrm>
        </p:grpSpPr>
        <p:sp>
          <p:nvSpPr>
            <p:cNvPr id="25" name="Oval 30">
              <a:extLst>
                <a:ext uri="{FF2B5EF4-FFF2-40B4-BE49-F238E27FC236}">
                  <a16:creationId xmlns:a16="http://schemas.microsoft.com/office/drawing/2014/main" id="{1066172B-35C8-4A6C-A89F-50EF4903BFA6}"/>
                </a:ext>
              </a:extLst>
            </p:cNvPr>
            <p:cNvSpPr/>
            <p:nvPr/>
          </p:nvSpPr>
          <p:spPr>
            <a:xfrm rot="5400000">
              <a:off x="8011603" y="2107098"/>
              <a:ext cx="216000" cy="216000"/>
            </a:xfrm>
            <a:prstGeom prst="ellipse">
              <a:avLst/>
            </a:prstGeom>
            <a:gradFill flip="none" rotWithShape="1">
              <a:gsLst>
                <a:gs pos="50000">
                  <a:srgbClr val="D26464"/>
                </a:gs>
                <a:gs pos="50000">
                  <a:schemeClr val="accent5"/>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26" name="Group 31">
              <a:extLst>
                <a:ext uri="{FF2B5EF4-FFF2-40B4-BE49-F238E27FC236}">
                  <a16:creationId xmlns:a16="http://schemas.microsoft.com/office/drawing/2014/main" id="{4449ABA6-4BFD-4BAC-90F6-47FD3E3894BD}"/>
                </a:ext>
              </a:extLst>
            </p:cNvPr>
            <p:cNvGrpSpPr>
              <a:grpSpLocks noChangeAspect="1"/>
            </p:cNvGrpSpPr>
            <p:nvPr/>
          </p:nvGrpSpPr>
          <p:grpSpPr>
            <a:xfrm rot="2700000">
              <a:off x="8053602" y="2179098"/>
              <a:ext cx="132003" cy="72000"/>
              <a:chOff x="10144608" y="897887"/>
              <a:chExt cx="326542" cy="178110"/>
            </a:xfrm>
          </p:grpSpPr>
          <p:sp>
            <p:nvSpPr>
              <p:cNvPr id="27" name="Line 34">
                <a:extLst>
                  <a:ext uri="{FF2B5EF4-FFF2-40B4-BE49-F238E27FC236}">
                    <a16:creationId xmlns:a16="http://schemas.microsoft.com/office/drawing/2014/main" id="{21AC167F-E945-4E18-9930-FC9D94DE8DAC}"/>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8" name="Rectangle 11">
                <a:extLst>
                  <a:ext uri="{FF2B5EF4-FFF2-40B4-BE49-F238E27FC236}">
                    <a16:creationId xmlns:a16="http://schemas.microsoft.com/office/drawing/2014/main" id="{6E54449F-A850-474E-9FEE-FA0ABE0304F0}"/>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29" name="SigEvoNeutral1" hidden="1">
            <a:extLst>
              <a:ext uri="{FF2B5EF4-FFF2-40B4-BE49-F238E27FC236}">
                <a16:creationId xmlns:a16="http://schemas.microsoft.com/office/drawing/2014/main" id="{8BF8F4AB-7D03-42EB-A367-3C46ACF0E5AC}"/>
              </a:ext>
            </a:extLst>
          </p:cNvPr>
          <p:cNvGrpSpPr/>
          <p:nvPr userDrawn="1"/>
        </p:nvGrpSpPr>
        <p:grpSpPr>
          <a:xfrm>
            <a:off x="12249396" y="293335"/>
            <a:ext cx="216000" cy="216000"/>
            <a:chOff x="4721041" y="2107098"/>
            <a:chExt cx="216000" cy="216000"/>
          </a:xfrm>
        </p:grpSpPr>
        <p:sp>
          <p:nvSpPr>
            <p:cNvPr id="30" name="Oval 25">
              <a:extLst>
                <a:ext uri="{FF2B5EF4-FFF2-40B4-BE49-F238E27FC236}">
                  <a16:creationId xmlns:a16="http://schemas.microsoft.com/office/drawing/2014/main" id="{E47FFAAA-CF23-418F-9E07-D8F42607FC07}"/>
                </a:ext>
              </a:extLst>
            </p:cNvPr>
            <p:cNvSpPr/>
            <p:nvPr/>
          </p:nvSpPr>
          <p:spPr>
            <a:xfrm>
              <a:off x="4721041" y="2107098"/>
              <a:ext cx="216000" cy="216000"/>
            </a:xfrm>
            <a:prstGeom prst="ellipse">
              <a:avLst/>
            </a:prstGeom>
            <a:gradFill flip="none" rotWithShape="1">
              <a:gsLst>
                <a:gs pos="50000">
                  <a:schemeClr val="tx1">
                    <a:lumMod val="75000"/>
                    <a:lumOff val="25000"/>
                  </a:schemeClr>
                </a:gs>
                <a:gs pos="50000">
                  <a:schemeClr val="tx1">
                    <a:lumMod val="90000"/>
                    <a:lumOff val="10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31" name="Group 26">
              <a:extLst>
                <a:ext uri="{FF2B5EF4-FFF2-40B4-BE49-F238E27FC236}">
                  <a16:creationId xmlns:a16="http://schemas.microsoft.com/office/drawing/2014/main" id="{903D30AB-E55A-483F-BA9B-443089E29183}"/>
                </a:ext>
              </a:extLst>
            </p:cNvPr>
            <p:cNvGrpSpPr>
              <a:grpSpLocks noChangeAspect="1"/>
            </p:cNvGrpSpPr>
            <p:nvPr/>
          </p:nvGrpSpPr>
          <p:grpSpPr>
            <a:xfrm rot="18900000">
              <a:off x="4763040" y="2179098"/>
              <a:ext cx="132003" cy="72000"/>
              <a:chOff x="10144608" y="897887"/>
              <a:chExt cx="326542" cy="178110"/>
            </a:xfrm>
          </p:grpSpPr>
          <p:sp>
            <p:nvSpPr>
              <p:cNvPr id="32" name="Line 34">
                <a:extLst>
                  <a:ext uri="{FF2B5EF4-FFF2-40B4-BE49-F238E27FC236}">
                    <a16:creationId xmlns:a16="http://schemas.microsoft.com/office/drawing/2014/main" id="{A630DFCA-73A8-4528-A0AF-8AB583049174}"/>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3" name="Rectangle 11">
                <a:extLst>
                  <a:ext uri="{FF2B5EF4-FFF2-40B4-BE49-F238E27FC236}">
                    <a16:creationId xmlns:a16="http://schemas.microsoft.com/office/drawing/2014/main" id="{8539843E-46C0-4D5B-8505-051994E47BB6}"/>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grpSp>
        <p:nvGrpSpPr>
          <p:cNvPr id="34" name="SigEvoNeutral2" hidden="1">
            <a:extLst>
              <a:ext uri="{FF2B5EF4-FFF2-40B4-BE49-F238E27FC236}">
                <a16:creationId xmlns:a16="http://schemas.microsoft.com/office/drawing/2014/main" id="{4F466D9C-DE98-4B47-B5F4-20FFC9C3915B}"/>
              </a:ext>
            </a:extLst>
          </p:cNvPr>
          <p:cNvGrpSpPr/>
          <p:nvPr userDrawn="1"/>
        </p:nvGrpSpPr>
        <p:grpSpPr>
          <a:xfrm>
            <a:off x="12547160" y="293335"/>
            <a:ext cx="216000" cy="216000"/>
            <a:chOff x="5016316" y="2107098"/>
            <a:chExt cx="216000" cy="216000"/>
          </a:xfrm>
        </p:grpSpPr>
        <p:sp>
          <p:nvSpPr>
            <p:cNvPr id="35" name="Oval 20">
              <a:extLst>
                <a:ext uri="{FF2B5EF4-FFF2-40B4-BE49-F238E27FC236}">
                  <a16:creationId xmlns:a16="http://schemas.microsoft.com/office/drawing/2014/main" id="{3B31D1C4-D1BB-421F-96F7-50A589607861}"/>
                </a:ext>
              </a:extLst>
            </p:cNvPr>
            <p:cNvSpPr/>
            <p:nvPr/>
          </p:nvSpPr>
          <p:spPr>
            <a:xfrm rot="5400000">
              <a:off x="5016316" y="2107098"/>
              <a:ext cx="216000" cy="216000"/>
            </a:xfrm>
            <a:prstGeom prst="ellipse">
              <a:avLst/>
            </a:prstGeom>
            <a:gradFill flip="none" rotWithShape="1">
              <a:gsLst>
                <a:gs pos="50000">
                  <a:schemeClr val="tx1">
                    <a:lumMod val="75000"/>
                    <a:lumOff val="25000"/>
                  </a:schemeClr>
                </a:gs>
                <a:gs pos="50000">
                  <a:schemeClr val="tx1">
                    <a:lumMod val="90000"/>
                    <a:lumOff val="10000"/>
                  </a:schemeClr>
                </a:gs>
              </a:gsLst>
              <a:lin ang="2700000" scaled="1"/>
              <a:tileRect/>
            </a:gradFill>
            <a:ln>
              <a:solidFill>
                <a:schemeClr val="bg1"/>
              </a:solid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dirty="0"/>
            </a:p>
          </p:txBody>
        </p:sp>
        <p:grpSp>
          <p:nvGrpSpPr>
            <p:cNvPr id="36" name="Group 21">
              <a:extLst>
                <a:ext uri="{FF2B5EF4-FFF2-40B4-BE49-F238E27FC236}">
                  <a16:creationId xmlns:a16="http://schemas.microsoft.com/office/drawing/2014/main" id="{1AAF0D5D-6B78-49FB-B199-9213C4BFE154}"/>
                </a:ext>
              </a:extLst>
            </p:cNvPr>
            <p:cNvGrpSpPr>
              <a:grpSpLocks noChangeAspect="1"/>
            </p:cNvGrpSpPr>
            <p:nvPr/>
          </p:nvGrpSpPr>
          <p:grpSpPr>
            <a:xfrm rot="2700000">
              <a:off x="5058315" y="2179098"/>
              <a:ext cx="132003" cy="72000"/>
              <a:chOff x="10144608" y="897887"/>
              <a:chExt cx="326542" cy="178110"/>
            </a:xfrm>
          </p:grpSpPr>
          <p:sp>
            <p:nvSpPr>
              <p:cNvPr id="37" name="Line 34">
                <a:extLst>
                  <a:ext uri="{FF2B5EF4-FFF2-40B4-BE49-F238E27FC236}">
                    <a16:creationId xmlns:a16="http://schemas.microsoft.com/office/drawing/2014/main" id="{7AD53F07-542C-4B20-9249-A9BABDC85490}"/>
                  </a:ext>
                </a:extLst>
              </p:cNvPr>
              <p:cNvSpPr>
                <a:spLocks noChangeShapeType="1"/>
              </p:cNvSpPr>
              <p:nvPr/>
            </p:nvSpPr>
            <p:spPr bwMode="auto">
              <a:xfrm flipH="1">
                <a:off x="10144608" y="986942"/>
                <a:ext cx="326542" cy="0"/>
              </a:xfrm>
              <a:prstGeom prst="line">
                <a:avLst/>
              </a:prstGeom>
              <a:noFill/>
              <a:ln w="1905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38" name="Rectangle 11">
                <a:extLst>
                  <a:ext uri="{FF2B5EF4-FFF2-40B4-BE49-F238E27FC236}">
                    <a16:creationId xmlns:a16="http://schemas.microsoft.com/office/drawing/2014/main" id="{7A12E03D-CD20-4BE2-87DF-7329CAA0709D}"/>
                  </a:ext>
                </a:extLst>
              </p:cNvPr>
              <p:cNvSpPr>
                <a:spLocks noChangeAspect="1"/>
              </p:cNvSpPr>
              <p:nvPr/>
            </p:nvSpPr>
            <p:spPr>
              <a:xfrm rot="2700000">
                <a:off x="10256152" y="897887"/>
                <a:ext cx="178110" cy="178110"/>
              </a:xfrm>
              <a:custGeom>
                <a:avLst/>
                <a:gdLst>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0 w 583134"/>
                  <a:gd name="connsiteY4" fmla="*/ 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4" fmla="*/ 91440 w 583134"/>
                  <a:gd name="connsiteY4" fmla="*/ 91440 h 510909"/>
                  <a:gd name="connsiteX0" fmla="*/ 0 w 583134"/>
                  <a:gd name="connsiteY0" fmla="*/ 0 h 510909"/>
                  <a:gd name="connsiteX1" fmla="*/ 583134 w 583134"/>
                  <a:gd name="connsiteY1" fmla="*/ 0 h 510909"/>
                  <a:gd name="connsiteX2" fmla="*/ 583134 w 583134"/>
                  <a:gd name="connsiteY2" fmla="*/ 510909 h 510909"/>
                  <a:gd name="connsiteX3" fmla="*/ 0 w 583134"/>
                  <a:gd name="connsiteY3" fmla="*/ 510909 h 510909"/>
                  <a:gd name="connsiteX0" fmla="*/ 0 w 583134"/>
                  <a:gd name="connsiteY0" fmla="*/ 0 h 510909"/>
                  <a:gd name="connsiteX1" fmla="*/ 583134 w 583134"/>
                  <a:gd name="connsiteY1" fmla="*/ 0 h 510909"/>
                  <a:gd name="connsiteX2" fmla="*/ 583134 w 583134"/>
                  <a:gd name="connsiteY2" fmla="*/ 510909 h 510909"/>
                </a:gdLst>
                <a:ahLst/>
                <a:cxnLst>
                  <a:cxn ang="0">
                    <a:pos x="connsiteX0" y="connsiteY0"/>
                  </a:cxn>
                  <a:cxn ang="0">
                    <a:pos x="connsiteX1" y="connsiteY1"/>
                  </a:cxn>
                  <a:cxn ang="0">
                    <a:pos x="connsiteX2" y="connsiteY2"/>
                  </a:cxn>
                </a:cxnLst>
                <a:rect l="l" t="t" r="r" b="b"/>
                <a:pathLst>
                  <a:path w="583134" h="510909">
                    <a:moveTo>
                      <a:pt x="0" y="0"/>
                    </a:moveTo>
                    <a:lnTo>
                      <a:pt x="583134" y="0"/>
                    </a:lnTo>
                    <a:lnTo>
                      <a:pt x="583134" y="510909"/>
                    </a:lnTo>
                  </a:path>
                </a:pathLst>
              </a:custGeom>
              <a:noFill/>
              <a:ln w="1905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200" dirty="0">
                  <a:solidFill>
                    <a:schemeClr val="bg1"/>
                  </a:solidFill>
                </a:endParaRPr>
              </a:p>
            </p:txBody>
          </p:sp>
        </p:grpSp>
      </p:grpSp>
      <p:sp>
        <p:nvSpPr>
          <p:cNvPr id="39" name="LowBase" hidden="1">
            <a:extLst>
              <a:ext uri="{FF2B5EF4-FFF2-40B4-BE49-F238E27FC236}">
                <a16:creationId xmlns:a16="http://schemas.microsoft.com/office/drawing/2014/main" id="{CB798142-A482-4302-8469-A69A8800D73E}"/>
              </a:ext>
            </a:extLst>
          </p:cNvPr>
          <p:cNvSpPr txBox="1"/>
          <p:nvPr userDrawn="1"/>
        </p:nvSpPr>
        <p:spPr>
          <a:xfrm>
            <a:off x="12827705" y="608111"/>
            <a:ext cx="122397" cy="153888"/>
          </a:xfrm>
          <a:prstGeom prst="rect">
            <a:avLst/>
          </a:prstGeom>
        </p:spPr>
        <p:txBody>
          <a:bodyPr vert="horz" wrap="none" lIns="36000" tIns="0" rIns="36000" bIns="0" rtlCol="0" anchor="ctr">
            <a:spAutoFit/>
          </a:bodyPr>
          <a:lstStyle/>
          <a:p>
            <a:pPr algn="l"/>
            <a:r>
              <a:rPr lang="en-US" sz="1000" dirty="0">
                <a:solidFill>
                  <a:schemeClr val="accent5"/>
                </a:solidFill>
              </a:rPr>
              <a:t>*</a:t>
            </a:r>
          </a:p>
        </p:txBody>
      </p:sp>
      <p:sp>
        <p:nvSpPr>
          <p:cNvPr id="40" name="LowBaseNote" hidden="1">
            <a:extLst>
              <a:ext uri="{FF2B5EF4-FFF2-40B4-BE49-F238E27FC236}">
                <a16:creationId xmlns:a16="http://schemas.microsoft.com/office/drawing/2014/main" id="{82BADEE9-6AE3-44F9-B174-25D2F3EA1438}"/>
              </a:ext>
            </a:extLst>
          </p:cNvPr>
          <p:cNvSpPr txBox="1"/>
          <p:nvPr userDrawn="1"/>
        </p:nvSpPr>
        <p:spPr>
          <a:xfrm>
            <a:off x="10735647" y="5960061"/>
            <a:ext cx="1048365" cy="169277"/>
          </a:xfrm>
          <a:prstGeom prst="rect">
            <a:avLst/>
          </a:prstGeom>
        </p:spPr>
        <p:txBody>
          <a:bodyPr vert="horz" wrap="none" lIns="0" tIns="0" rIns="0" bIns="0" rtlCol="0" anchor="b">
            <a:spAutoFit/>
          </a:bodyPr>
          <a:lstStyle/>
          <a:p>
            <a:pPr algn="r"/>
            <a:r>
              <a:rPr lang="en-US" sz="1100" b="1" dirty="0">
                <a:solidFill>
                  <a:schemeClr val="accent5"/>
                </a:solidFill>
              </a:rPr>
              <a:t>*Low base size!</a:t>
            </a:r>
          </a:p>
        </p:txBody>
      </p:sp>
      <p:sp>
        <p:nvSpPr>
          <p:cNvPr id="41" name="BaseTooLow" hidden="1">
            <a:extLst>
              <a:ext uri="{FF2B5EF4-FFF2-40B4-BE49-F238E27FC236}">
                <a16:creationId xmlns:a16="http://schemas.microsoft.com/office/drawing/2014/main" id="{97E40B70-EF6C-46FB-A4D8-05094D546081}"/>
              </a:ext>
            </a:extLst>
          </p:cNvPr>
          <p:cNvSpPr/>
          <p:nvPr userDrawn="1"/>
        </p:nvSpPr>
        <p:spPr>
          <a:xfrm>
            <a:off x="12269749" y="860775"/>
            <a:ext cx="1080000" cy="1080000"/>
          </a:xfrm>
          <a:prstGeom prst="rect">
            <a:avLst/>
          </a:prstGeom>
          <a:solidFill>
            <a:schemeClr val="bg1">
              <a:lumMod val="95000"/>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en-US" sz="1100" dirty="0">
                <a:solidFill>
                  <a:schemeClr val="tx1">
                    <a:lumMod val="50000"/>
                    <a:lumOff val="50000"/>
                  </a:schemeClr>
                </a:solidFill>
              </a:rPr>
              <a:t>Base too low</a:t>
            </a:r>
          </a:p>
        </p:txBody>
      </p:sp>
      <p:grpSp>
        <p:nvGrpSpPr>
          <p:cNvPr id="42" name="NoteFoot" hidden="1">
            <a:extLst>
              <a:ext uri="{FF2B5EF4-FFF2-40B4-BE49-F238E27FC236}">
                <a16:creationId xmlns:a16="http://schemas.microsoft.com/office/drawing/2014/main" id="{3E5073F1-7FD4-4D00-AC32-78374F9401D4}"/>
              </a:ext>
            </a:extLst>
          </p:cNvPr>
          <p:cNvGrpSpPr/>
          <p:nvPr userDrawn="1"/>
        </p:nvGrpSpPr>
        <p:grpSpPr>
          <a:xfrm>
            <a:off x="407988" y="5914897"/>
            <a:ext cx="3386846" cy="226591"/>
            <a:chOff x="3580280" y="5914897"/>
            <a:chExt cx="3386846" cy="226591"/>
          </a:xfrm>
        </p:grpSpPr>
        <p:sp>
          <p:nvSpPr>
            <p:cNvPr id="43" name="Rectangle 40">
              <a:extLst>
                <a:ext uri="{FF2B5EF4-FFF2-40B4-BE49-F238E27FC236}">
                  <a16:creationId xmlns:a16="http://schemas.microsoft.com/office/drawing/2014/main" id="{B90FBF37-E6C2-47CC-89FF-2B0D38F84BA3}"/>
                </a:ext>
              </a:extLst>
            </p:cNvPr>
            <p:cNvSpPr/>
            <p:nvPr/>
          </p:nvSpPr>
          <p:spPr>
            <a:xfrm>
              <a:off x="3672853" y="5914897"/>
              <a:ext cx="3294273" cy="226591"/>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44000" tIns="36000" rIns="72000" bIns="36000" rtlCol="0" anchor="b">
              <a:spAutoFit/>
            </a:bodyPr>
            <a:lstStyle/>
            <a:p>
              <a:r>
                <a:rPr lang="en-US" sz="1000" dirty="0">
                  <a:solidFill>
                    <a:schemeClr val="bg1">
                      <a:lumMod val="50000"/>
                    </a:schemeClr>
                  </a:solidFill>
                </a:rPr>
                <a:t>[A single line of text here. Lorem ipsum dolor sit amet.]</a:t>
              </a:r>
            </a:p>
          </p:txBody>
        </p:sp>
        <p:grpSp>
          <p:nvGrpSpPr>
            <p:cNvPr id="44" name="Group 41">
              <a:extLst>
                <a:ext uri="{FF2B5EF4-FFF2-40B4-BE49-F238E27FC236}">
                  <a16:creationId xmlns:a16="http://schemas.microsoft.com/office/drawing/2014/main" id="{43D79B72-E18A-44C1-A7FB-E3DF7A0415F8}"/>
                </a:ext>
              </a:extLst>
            </p:cNvPr>
            <p:cNvGrpSpPr/>
            <p:nvPr/>
          </p:nvGrpSpPr>
          <p:grpSpPr>
            <a:xfrm>
              <a:off x="3580280" y="5928668"/>
              <a:ext cx="180000" cy="180000"/>
              <a:chOff x="3084430" y="5367461"/>
              <a:chExt cx="180000" cy="180000"/>
            </a:xfrm>
            <a:effectLst>
              <a:outerShdw dist="25400" dir="2700000" algn="tl" rotWithShape="0">
                <a:schemeClr val="tx1">
                  <a:alpha val="40000"/>
                </a:schemeClr>
              </a:outerShdw>
            </a:effectLst>
          </p:grpSpPr>
          <p:sp>
            <p:nvSpPr>
              <p:cNvPr id="45" name="Ellipse 87">
                <a:extLst>
                  <a:ext uri="{FF2B5EF4-FFF2-40B4-BE49-F238E27FC236}">
                    <a16:creationId xmlns:a16="http://schemas.microsoft.com/office/drawing/2014/main" id="{AEB749F7-8B70-42A6-A7A1-28A616757099}"/>
                  </a:ext>
                </a:extLst>
              </p:cNvPr>
              <p:cNvSpPr/>
              <p:nvPr/>
            </p:nvSpPr>
            <p:spPr>
              <a:xfrm>
                <a:off x="3084430" y="5367461"/>
                <a:ext cx="180000" cy="180000"/>
              </a:xfrm>
              <a:prstGeom prst="ellipse">
                <a:avLst/>
              </a:prstGeom>
              <a:solidFill>
                <a:schemeClr val="tx2"/>
              </a:solid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46" name="Group 43">
                <a:extLst>
                  <a:ext uri="{FF2B5EF4-FFF2-40B4-BE49-F238E27FC236}">
                    <a16:creationId xmlns:a16="http://schemas.microsoft.com/office/drawing/2014/main" id="{F93331EB-DAA4-42E4-834F-53696289E349}"/>
                  </a:ext>
                </a:extLst>
              </p:cNvPr>
              <p:cNvGrpSpPr/>
              <p:nvPr/>
            </p:nvGrpSpPr>
            <p:grpSpPr>
              <a:xfrm>
                <a:off x="3172630" y="5420532"/>
                <a:ext cx="3600" cy="92906"/>
                <a:chOff x="3172630" y="5421189"/>
                <a:chExt cx="3600" cy="92906"/>
              </a:xfrm>
            </p:grpSpPr>
            <p:sp>
              <p:nvSpPr>
                <p:cNvPr id="47" name="Line 37">
                  <a:extLst>
                    <a:ext uri="{FF2B5EF4-FFF2-40B4-BE49-F238E27FC236}">
                      <a16:creationId xmlns:a16="http://schemas.microsoft.com/office/drawing/2014/main" id="{FF026756-2B05-48AC-A0DA-BB835FED19BF}"/>
                    </a:ext>
                  </a:extLst>
                </p:cNvPr>
                <p:cNvSpPr>
                  <a:spLocks noChangeShapeType="1"/>
                </p:cNvSpPr>
                <p:nvPr/>
              </p:nvSpPr>
              <p:spPr bwMode="auto">
                <a:xfrm>
                  <a:off x="3174430" y="5454747"/>
                  <a:ext cx="0" cy="5934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48" name="Oval 38">
                  <a:extLst>
                    <a:ext uri="{FF2B5EF4-FFF2-40B4-BE49-F238E27FC236}">
                      <a16:creationId xmlns:a16="http://schemas.microsoft.com/office/drawing/2014/main" id="{8FA988E4-9C36-453F-8F79-DC4547A08914}"/>
                    </a:ext>
                  </a:extLst>
                </p:cNvPr>
                <p:cNvSpPr>
                  <a:spLocks noChangeAspect="1" noChangeArrowheads="1"/>
                </p:cNvSpPr>
                <p:nvPr/>
              </p:nvSpPr>
              <p:spPr bwMode="auto">
                <a:xfrm>
                  <a:off x="3172630" y="5421189"/>
                  <a:ext cx="3600" cy="3600"/>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grpSp>
        <p:nvGrpSpPr>
          <p:cNvPr id="49" name="NoteSide" hidden="1">
            <a:extLst>
              <a:ext uri="{FF2B5EF4-FFF2-40B4-BE49-F238E27FC236}">
                <a16:creationId xmlns:a16="http://schemas.microsoft.com/office/drawing/2014/main" id="{8F479491-03AE-4441-8ECA-07C386388791}"/>
              </a:ext>
            </a:extLst>
          </p:cNvPr>
          <p:cNvGrpSpPr/>
          <p:nvPr userDrawn="1"/>
        </p:nvGrpSpPr>
        <p:grpSpPr>
          <a:xfrm>
            <a:off x="9696449" y="2130188"/>
            <a:ext cx="2087563" cy="1758901"/>
            <a:chOff x="9696450" y="1976796"/>
            <a:chExt cx="2087563" cy="1758901"/>
          </a:xfrm>
        </p:grpSpPr>
        <p:sp>
          <p:nvSpPr>
            <p:cNvPr id="50" name="Rectangle 47">
              <a:extLst>
                <a:ext uri="{FF2B5EF4-FFF2-40B4-BE49-F238E27FC236}">
                  <a16:creationId xmlns:a16="http://schemas.microsoft.com/office/drawing/2014/main" id="{76495ACB-324B-4102-BB98-49BA50D6EE86}"/>
                </a:ext>
              </a:extLst>
            </p:cNvPr>
            <p:cNvSpPr/>
            <p:nvPr/>
          </p:nvSpPr>
          <p:spPr>
            <a:xfrm>
              <a:off x="9784080" y="2066797"/>
              <a:ext cx="1999933" cy="1668900"/>
            </a:xfrm>
            <a:prstGeom prst="rect">
              <a:avLst/>
            </a:prstGeom>
            <a:solidFill>
              <a:schemeClr val="tx1">
                <a:lumMod val="10000"/>
                <a:lumOff val="90000"/>
              </a:schemeClr>
            </a:solidFill>
            <a:ln>
              <a:noFill/>
            </a:ln>
            <a:effectLst>
              <a:outerShdw dist="25400" dir="2700000" algn="tl" rotWithShape="0">
                <a:schemeClr val="tx1">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72000" bIns="72000" rtlCol="0" anchor="t">
              <a:spAutoFit/>
            </a:bodyPr>
            <a:lstStyle/>
            <a:p>
              <a:r>
                <a:rPr lang="en-US" sz="1100" dirty="0">
                  <a:solidFill>
                    <a:schemeClr val="bg1">
                      <a:lumMod val="50000"/>
                    </a:schemeClr>
                  </a:solidFill>
                </a:rPr>
                <a:t>(A few sentences of text.) Lorem ipsum dolor sit amet, consectetuer adipiscing elit. Maecenas porttitor congue massa. Fusce posuere, magna sed pulvinar ultricies.</a:t>
              </a:r>
            </a:p>
            <a:p>
              <a:endParaRPr lang="en-US" sz="1100" dirty="0">
                <a:solidFill>
                  <a:schemeClr val="bg1">
                    <a:lumMod val="50000"/>
                  </a:schemeClr>
                </a:solidFill>
              </a:endParaRPr>
            </a:p>
            <a:p>
              <a:r>
                <a:rPr lang="en-US" sz="1100" dirty="0">
                  <a:solidFill>
                    <a:schemeClr val="bg1">
                      <a:lumMod val="50000"/>
                    </a:schemeClr>
                  </a:solidFill>
                </a:rPr>
                <a:t>Nunc viverra imperdiet enim. Fusce est. Vivamus a tellus.</a:t>
              </a:r>
            </a:p>
          </p:txBody>
        </p:sp>
        <p:grpSp>
          <p:nvGrpSpPr>
            <p:cNvPr id="51" name="Group 48">
              <a:extLst>
                <a:ext uri="{FF2B5EF4-FFF2-40B4-BE49-F238E27FC236}">
                  <a16:creationId xmlns:a16="http://schemas.microsoft.com/office/drawing/2014/main" id="{D7CDB9A6-4DD6-4603-9261-1DE2EE031B01}"/>
                </a:ext>
              </a:extLst>
            </p:cNvPr>
            <p:cNvGrpSpPr/>
            <p:nvPr/>
          </p:nvGrpSpPr>
          <p:grpSpPr>
            <a:xfrm>
              <a:off x="9696450" y="1976796"/>
              <a:ext cx="180000" cy="180000"/>
              <a:chOff x="3084430" y="5376985"/>
              <a:chExt cx="180000" cy="180000"/>
            </a:xfrm>
            <a:effectLst>
              <a:outerShdw dist="25400" dir="2700000" algn="tl" rotWithShape="0">
                <a:schemeClr val="tx1">
                  <a:alpha val="40000"/>
                </a:schemeClr>
              </a:outerShdw>
            </a:effectLst>
          </p:grpSpPr>
          <p:sp>
            <p:nvSpPr>
              <p:cNvPr id="52" name="Ellipse 87">
                <a:extLst>
                  <a:ext uri="{FF2B5EF4-FFF2-40B4-BE49-F238E27FC236}">
                    <a16:creationId xmlns:a16="http://schemas.microsoft.com/office/drawing/2014/main" id="{4BC1F903-9D6F-4D44-A61A-92472E85BE96}"/>
                  </a:ext>
                </a:extLst>
              </p:cNvPr>
              <p:cNvSpPr/>
              <p:nvPr/>
            </p:nvSpPr>
            <p:spPr>
              <a:xfrm>
                <a:off x="3084430" y="5376985"/>
                <a:ext cx="180000" cy="180000"/>
              </a:xfrm>
              <a:prstGeom prst="ellipse">
                <a:avLst/>
              </a:prstGeom>
              <a:solidFill>
                <a:schemeClr val="tx2"/>
              </a:solidFill>
              <a:ln w="12700" cap="rnd">
                <a:solidFill>
                  <a:schemeClr val="bg1"/>
                </a:solid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nvGrpSpPr>
              <p:cNvPr id="53" name="Group 50">
                <a:extLst>
                  <a:ext uri="{FF2B5EF4-FFF2-40B4-BE49-F238E27FC236}">
                    <a16:creationId xmlns:a16="http://schemas.microsoft.com/office/drawing/2014/main" id="{D6B595CC-4850-4FFD-AC7F-EB78CA161286}"/>
                  </a:ext>
                </a:extLst>
              </p:cNvPr>
              <p:cNvGrpSpPr/>
              <p:nvPr/>
            </p:nvGrpSpPr>
            <p:grpSpPr>
              <a:xfrm>
                <a:off x="3172630" y="5420532"/>
                <a:ext cx="3600" cy="92906"/>
                <a:chOff x="3172630" y="5421189"/>
                <a:chExt cx="3600" cy="92906"/>
              </a:xfrm>
            </p:grpSpPr>
            <p:sp>
              <p:nvSpPr>
                <p:cNvPr id="54" name="Line 37">
                  <a:extLst>
                    <a:ext uri="{FF2B5EF4-FFF2-40B4-BE49-F238E27FC236}">
                      <a16:creationId xmlns:a16="http://schemas.microsoft.com/office/drawing/2014/main" id="{AA62D980-1C76-40A9-9DBE-9670EC510639}"/>
                    </a:ext>
                  </a:extLst>
                </p:cNvPr>
                <p:cNvSpPr>
                  <a:spLocks noChangeShapeType="1"/>
                </p:cNvSpPr>
                <p:nvPr/>
              </p:nvSpPr>
              <p:spPr bwMode="auto">
                <a:xfrm>
                  <a:off x="3174430" y="5454747"/>
                  <a:ext cx="0" cy="59348"/>
                </a:xfrm>
                <a:prstGeom prst="lin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55" name="Oval 38">
                  <a:extLst>
                    <a:ext uri="{FF2B5EF4-FFF2-40B4-BE49-F238E27FC236}">
                      <a16:creationId xmlns:a16="http://schemas.microsoft.com/office/drawing/2014/main" id="{8377CAD9-48F0-452E-9E3A-3472D99CF809}"/>
                    </a:ext>
                  </a:extLst>
                </p:cNvPr>
                <p:cNvSpPr>
                  <a:spLocks noChangeAspect="1" noChangeArrowheads="1"/>
                </p:cNvSpPr>
                <p:nvPr/>
              </p:nvSpPr>
              <p:spPr bwMode="auto">
                <a:xfrm>
                  <a:off x="3172630" y="5421189"/>
                  <a:ext cx="3600" cy="3600"/>
                </a:xfrm>
                <a:prstGeom prst="ellipse">
                  <a:avLst/>
                </a:prstGeom>
                <a:noFill/>
                <a:ln w="12700" cap="rnd">
                  <a:solidFill>
                    <a:schemeClr val="bg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grpSp>
      <p:sp>
        <p:nvSpPr>
          <p:cNvPr id="56" name="N/A" hidden="1">
            <a:extLst>
              <a:ext uri="{FF2B5EF4-FFF2-40B4-BE49-F238E27FC236}">
                <a16:creationId xmlns:a16="http://schemas.microsoft.com/office/drawing/2014/main" id="{8A916914-C998-42B4-B3F2-0A90D81E3A07}"/>
              </a:ext>
            </a:extLst>
          </p:cNvPr>
          <p:cNvSpPr txBox="1"/>
          <p:nvPr userDrawn="1"/>
        </p:nvSpPr>
        <p:spPr>
          <a:xfrm>
            <a:off x="13034999" y="608111"/>
            <a:ext cx="285903" cy="153888"/>
          </a:xfrm>
          <a:prstGeom prst="rect">
            <a:avLst/>
          </a:prstGeom>
        </p:spPr>
        <p:txBody>
          <a:bodyPr vert="horz" wrap="none" lIns="36000" tIns="0" rIns="36000" bIns="0" rtlCol="0" anchor="ctr">
            <a:spAutoFit/>
          </a:bodyPr>
          <a:lstStyle/>
          <a:p>
            <a:pPr algn="l"/>
            <a:r>
              <a:rPr lang="en-US" sz="1000" dirty="0">
                <a:solidFill>
                  <a:schemeClr val="tx1">
                    <a:lumMod val="50000"/>
                    <a:lumOff val="50000"/>
                  </a:schemeClr>
                </a:solidFill>
              </a:rPr>
              <a:t>N/A</a:t>
            </a:r>
          </a:p>
        </p:txBody>
      </p:sp>
    </p:spTree>
    <p:extLst>
      <p:ext uri="{BB962C8B-B14F-4D97-AF65-F5344CB8AC3E}">
        <p14:creationId xmlns:p14="http://schemas.microsoft.com/office/powerpoint/2010/main" val="2089693720"/>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764" r:id="rId3"/>
    <p:sldLayoutId id="2147483650" r:id="rId4"/>
    <p:sldLayoutId id="2147483664" r:id="rId5"/>
    <p:sldLayoutId id="2147483651" r:id="rId6"/>
    <p:sldLayoutId id="2147483662" r:id="rId7"/>
    <p:sldLayoutId id="2147483663" r:id="rId8"/>
    <p:sldLayoutId id="2147483765" r:id="rId9"/>
    <p:sldLayoutId id="2147483665" r:id="rId10"/>
    <p:sldLayoutId id="2147483763" r:id="rId11"/>
    <p:sldLayoutId id="2147483707" r:id="rId12"/>
    <p:sldLayoutId id="2147483683" r:id="rId13"/>
    <p:sldLayoutId id="2147483684" r:id="rId14"/>
    <p:sldLayoutId id="2147483685" r:id="rId15"/>
    <p:sldLayoutId id="2147483697" r:id="rId16"/>
    <p:sldLayoutId id="2147483735" r:id="rId17"/>
    <p:sldLayoutId id="2147483698" r:id="rId18"/>
    <p:sldLayoutId id="2147483736" r:id="rId19"/>
    <p:sldLayoutId id="2147483737" r:id="rId20"/>
    <p:sldLayoutId id="2147483738" r:id="rId21"/>
    <p:sldLayoutId id="2147483721" r:id="rId22"/>
    <p:sldLayoutId id="2147483687" r:id="rId23"/>
    <p:sldLayoutId id="2147483706" r:id="rId24"/>
    <p:sldLayoutId id="2147483739" r:id="rId25"/>
    <p:sldLayoutId id="2147483705" r:id="rId26"/>
    <p:sldLayoutId id="2147483740" r:id="rId27"/>
    <p:sldLayoutId id="2147483741" r:id="rId28"/>
    <p:sldLayoutId id="2147483742" r:id="rId29"/>
    <p:sldLayoutId id="2147483722" r:id="rId30"/>
    <p:sldLayoutId id="2147483690" r:id="rId31"/>
    <p:sldLayoutId id="2147483699" r:id="rId32"/>
    <p:sldLayoutId id="2147483743" r:id="rId33"/>
    <p:sldLayoutId id="2147483703" r:id="rId34"/>
    <p:sldLayoutId id="2147483744" r:id="rId35"/>
    <p:sldLayoutId id="2147483745" r:id="rId36"/>
    <p:sldLayoutId id="2147483746" r:id="rId37"/>
    <p:sldLayoutId id="2147483723" r:id="rId38"/>
    <p:sldLayoutId id="2147483688" r:id="rId39"/>
    <p:sldLayoutId id="2147483700" r:id="rId40"/>
    <p:sldLayoutId id="2147483747" r:id="rId41"/>
    <p:sldLayoutId id="2147483704" r:id="rId42"/>
    <p:sldLayoutId id="2147483748" r:id="rId43"/>
    <p:sldLayoutId id="2147483749" r:id="rId44"/>
    <p:sldLayoutId id="2147483750" r:id="rId45"/>
    <p:sldLayoutId id="2147483724" r:id="rId46"/>
    <p:sldLayoutId id="2147483689" r:id="rId47"/>
    <p:sldLayoutId id="2147483702" r:id="rId48"/>
    <p:sldLayoutId id="2147483751" r:id="rId49"/>
    <p:sldLayoutId id="2147483701" r:id="rId50"/>
    <p:sldLayoutId id="2147483752" r:id="rId51"/>
    <p:sldLayoutId id="2147483753" r:id="rId52"/>
    <p:sldLayoutId id="2147483754" r:id="rId53"/>
    <p:sldLayoutId id="2147483654" r:id="rId54"/>
    <p:sldLayoutId id="2147483725" r:id="rId55"/>
    <p:sldLayoutId id="2147483729" r:id="rId56"/>
    <p:sldLayoutId id="2147483755" r:id="rId57"/>
    <p:sldLayoutId id="2147483756" r:id="rId58"/>
    <p:sldLayoutId id="2147483726" r:id="rId59"/>
    <p:sldLayoutId id="2147483730" r:id="rId60"/>
    <p:sldLayoutId id="2147483757" r:id="rId61"/>
    <p:sldLayoutId id="2147483758" r:id="rId62"/>
    <p:sldLayoutId id="2147483727" r:id="rId63"/>
    <p:sldLayoutId id="2147483731" r:id="rId64"/>
    <p:sldLayoutId id="2147483728" r:id="rId65"/>
    <p:sldLayoutId id="2147483732" r:id="rId66"/>
    <p:sldLayoutId id="2147483714" r:id="rId67"/>
    <p:sldLayoutId id="2147483694" r:id="rId68"/>
    <p:sldLayoutId id="2147483719" r:id="rId69"/>
    <p:sldLayoutId id="2147483695" r:id="rId70"/>
    <p:sldLayoutId id="2147483696" r:id="rId71"/>
    <p:sldLayoutId id="2147483674" r:id="rId72"/>
    <p:sldLayoutId id="2147483733" r:id="rId73"/>
    <p:sldLayoutId id="2147483759" r:id="rId74"/>
    <p:sldLayoutId id="2147483760" r:id="rId75"/>
    <p:sldLayoutId id="2147483712" r:id="rId76"/>
    <p:sldLayoutId id="2147483708" r:id="rId77"/>
    <p:sldLayoutId id="2147483734" r:id="rId78"/>
    <p:sldLayoutId id="2147483761" r:id="rId79"/>
    <p:sldLayoutId id="2147483762" r:id="rId80"/>
    <p:sldLayoutId id="2147483713" r:id="rId81"/>
    <p:sldLayoutId id="2147483676" r:id="rId82"/>
    <p:sldLayoutId id="2147483711" r:id="rId83"/>
    <p:sldLayoutId id="2147483655" r:id="rId84"/>
    <p:sldLayoutId id="2147483720" r:id="rId85"/>
    <p:sldLayoutId id="2147483672" r:id="rId86"/>
    <p:sldLayoutId id="2147483671" r:id="rId87"/>
    <p:sldLayoutId id="2147483693" r:id="rId88"/>
    <p:sldLayoutId id="2147483709" r:id="rId89"/>
    <p:sldLayoutId id="2147483766" r:id="rId90"/>
  </p:sldLayoutIdLst>
  <p:hf hdr="0" ftr="0"/>
  <p:txStyles>
    <p:title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600" b="0" kern="1200">
          <a:solidFill>
            <a:schemeClr val="tx1"/>
          </a:solidFill>
          <a:latin typeface="+mn-lt"/>
          <a:ea typeface="+mn-ea"/>
          <a:cs typeface="+mn-cs"/>
        </a:defRPr>
      </a:lvl1pPr>
      <a:lvl2pPr marL="447675" indent="-314325" algn="l" defTabSz="914400" rtl="0" eaLnBrk="1" latinLnBrk="0" hangingPunct="1">
        <a:lnSpc>
          <a:spcPct val="100000"/>
        </a:lnSpc>
        <a:spcBef>
          <a:spcPts val="600"/>
        </a:spcBef>
        <a:buSzPct val="80000"/>
        <a:buFont typeface="Arial" panose="020B0604020202020204" pitchFamily="34" charset="0"/>
        <a:buChar char="•"/>
        <a:defRPr sz="1600" kern="1200">
          <a:solidFill>
            <a:schemeClr val="tx1"/>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4.xml"/><Relationship Id="rId5" Type="http://schemas.openxmlformats.org/officeDocument/2006/relationships/chart" Target="../charts/chart9.xml"/><Relationship Id="rId4" Type="http://schemas.openxmlformats.org/officeDocument/2006/relationships/chart" Target="../charts/chart8.xml"/></Relationships>
</file>

<file path=ppt/slides/_rels/slide13.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chart" Target="../charts/chart12.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72.xml"/></Relationships>
</file>

<file path=ppt/slides/_rels/slide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chart" Target="../charts/chart19.xml"/><Relationship Id="rId1" Type="http://schemas.openxmlformats.org/officeDocument/2006/relationships/slideLayout" Target="../slideLayouts/slideLayout4.xml"/><Relationship Id="rId6" Type="http://schemas.openxmlformats.org/officeDocument/2006/relationships/chart" Target="../charts/chart23.xml"/><Relationship Id="rId5" Type="http://schemas.openxmlformats.org/officeDocument/2006/relationships/chart" Target="../charts/chart22.xml"/><Relationship Id="rId4" Type="http://schemas.openxmlformats.org/officeDocument/2006/relationships/chart" Target="../charts/chart21.xml"/></Relationships>
</file>

<file path=ppt/slides/_rels/slide29.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2.xml"/></Relationships>
</file>

<file path=ppt/slides/_rels/slide30.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chart" Target="../charts/chart28.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1.emf"/><Relationship Id="rId2" Type="http://schemas.openxmlformats.org/officeDocument/2006/relationships/tags" Target="../tags/tag150.xml"/><Relationship Id="rId1" Type="http://schemas.openxmlformats.org/officeDocument/2006/relationships/vmlDrawing" Target="../drawings/vmlDrawing77.vml"/><Relationship Id="rId6" Type="http://schemas.openxmlformats.org/officeDocument/2006/relationships/oleObject" Target="../embeddings/oleObject13.bin"/><Relationship Id="rId5" Type="http://schemas.openxmlformats.org/officeDocument/2006/relationships/image" Target="../media/image24.png"/><Relationship Id="rId4" Type="http://schemas.openxmlformats.org/officeDocument/2006/relationships/slideLayout" Target="../slideLayouts/slideLayout82.xml"/></Relationships>
</file>

<file path=ppt/slides/_rels/slide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Undertittel 3">
            <a:extLst>
              <a:ext uri="{FF2B5EF4-FFF2-40B4-BE49-F238E27FC236}">
                <a16:creationId xmlns:a16="http://schemas.microsoft.com/office/drawing/2014/main" id="{23475EC0-0CEA-445F-A4BE-36BEE0EDBFC1}"/>
              </a:ext>
            </a:extLst>
          </p:cNvPr>
          <p:cNvSpPr>
            <a:spLocks noGrp="1"/>
          </p:cNvSpPr>
          <p:nvPr>
            <p:ph type="subTitle" idx="1"/>
          </p:nvPr>
        </p:nvSpPr>
        <p:spPr>
          <a:xfrm>
            <a:off x="479376" y="2132856"/>
            <a:ext cx="9021245" cy="461665"/>
          </a:xfrm>
        </p:spPr>
        <p:txBody>
          <a:bodyPr/>
          <a:lstStyle/>
          <a:p>
            <a:r>
              <a:rPr lang="nb-NO" dirty="0"/>
              <a:t>Kartlegging av påvirkningen til Politiets nasjonale beredskapssenter på lokalområdene rundt senteret</a:t>
            </a:r>
          </a:p>
        </p:txBody>
      </p:sp>
      <p:sp>
        <p:nvSpPr>
          <p:cNvPr id="3" name="Tittel 2">
            <a:extLst>
              <a:ext uri="{FF2B5EF4-FFF2-40B4-BE49-F238E27FC236}">
                <a16:creationId xmlns:a16="http://schemas.microsoft.com/office/drawing/2014/main" id="{B9151953-9E06-4FDF-A3EB-D9B85E46B03E}"/>
              </a:ext>
            </a:extLst>
          </p:cNvPr>
          <p:cNvSpPr>
            <a:spLocks noGrp="1"/>
          </p:cNvSpPr>
          <p:nvPr>
            <p:ph type="ctrTitle"/>
          </p:nvPr>
        </p:nvSpPr>
        <p:spPr>
          <a:xfrm>
            <a:off x="479376" y="1340768"/>
            <a:ext cx="10101289" cy="2475348"/>
          </a:xfrm>
        </p:spPr>
        <p:txBody>
          <a:bodyPr/>
          <a:lstStyle/>
          <a:p>
            <a:r>
              <a:rPr lang="en-US" dirty="0"/>
              <a:t>NABOundersøkelsen</a:t>
            </a:r>
          </a:p>
        </p:txBody>
      </p:sp>
      <p:sp>
        <p:nvSpPr>
          <p:cNvPr id="5" name="Plassholder for tekst 4">
            <a:extLst>
              <a:ext uri="{FF2B5EF4-FFF2-40B4-BE49-F238E27FC236}">
                <a16:creationId xmlns:a16="http://schemas.microsoft.com/office/drawing/2014/main" id="{0135272D-2527-48D1-B681-47A88C4D1B61}"/>
              </a:ext>
            </a:extLst>
          </p:cNvPr>
          <p:cNvSpPr>
            <a:spLocks noGrp="1"/>
          </p:cNvSpPr>
          <p:nvPr>
            <p:ph type="body" sz="quarter" idx="12"/>
          </p:nvPr>
        </p:nvSpPr>
        <p:spPr/>
        <p:txBody>
          <a:bodyPr/>
          <a:lstStyle/>
          <a:p>
            <a:r>
              <a:rPr lang="en-US" dirty="0"/>
              <a:t>April 2022</a:t>
            </a:r>
          </a:p>
        </p:txBody>
      </p:sp>
      <p:sp>
        <p:nvSpPr>
          <p:cNvPr id="9" name="TekstSylinder 8">
            <a:extLst>
              <a:ext uri="{FF2B5EF4-FFF2-40B4-BE49-F238E27FC236}">
                <a16:creationId xmlns:a16="http://schemas.microsoft.com/office/drawing/2014/main" id="{1F3C1784-C20A-45FD-8FD2-7CC93782EE49}"/>
              </a:ext>
            </a:extLst>
          </p:cNvPr>
          <p:cNvSpPr txBox="1"/>
          <p:nvPr/>
        </p:nvSpPr>
        <p:spPr>
          <a:xfrm>
            <a:off x="479376" y="3356992"/>
            <a:ext cx="6408712" cy="584775"/>
          </a:xfrm>
          <a:prstGeom prst="rect">
            <a:avLst/>
          </a:prstGeom>
          <a:noFill/>
        </p:spPr>
        <p:txBody>
          <a:bodyPr wrap="square" rtlCol="0">
            <a:spAutoFit/>
          </a:bodyPr>
          <a:lstStyle/>
          <a:p>
            <a:r>
              <a:rPr lang="nb-NO" sz="1600" b="1" dirty="0">
                <a:solidFill>
                  <a:schemeClr val="bg1"/>
                </a:solidFill>
                <a:cs typeface="Calibri" panose="020F0502020204030204" pitchFamily="34" charset="0"/>
              </a:rPr>
              <a:t>Laget for Oslo politidistrikt (OPD) / Felles enhet for nasjonale bistandsressurser (FNB) og Politiets fellestjenester (PFT)</a:t>
            </a:r>
            <a:endParaRPr lang="en-GB" sz="1600" b="1" dirty="0">
              <a:solidFill>
                <a:schemeClr val="bg1"/>
              </a:solidFill>
            </a:endParaRPr>
          </a:p>
        </p:txBody>
      </p:sp>
    </p:spTree>
    <p:extLst>
      <p:ext uri="{BB962C8B-B14F-4D97-AF65-F5344CB8AC3E}">
        <p14:creationId xmlns:p14="http://schemas.microsoft.com/office/powerpoint/2010/main" val="12501816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5E77C17-D01F-441E-89B1-B2905769C0F2}"/>
              </a:ext>
            </a:extLst>
          </p:cNvPr>
          <p:cNvSpPr>
            <a:spLocks noGrp="1"/>
          </p:cNvSpPr>
          <p:nvPr>
            <p:ph type="body" sz="quarter" idx="15"/>
          </p:nvPr>
        </p:nvSpPr>
        <p:spPr>
          <a:xfrm>
            <a:off x="1559496" y="1628800"/>
            <a:ext cx="9147598" cy="292388"/>
          </a:xfrm>
        </p:spPr>
        <p:txBody>
          <a:bodyPr/>
          <a:lstStyle/>
          <a:p>
            <a:r>
              <a:rPr lang="nb-NO" sz="1600" i="1" dirty="0">
                <a:solidFill>
                  <a:schemeClr val="tx1"/>
                </a:solidFill>
                <a:cs typeface="Times New Roman" panose="02020603050405020304" pitchFamily="18" charset="0"/>
              </a:rPr>
              <a:t>Hvilke områder påvirker lydnivået fra driften av beredskapssenteret for deg? Annet, skriv inn:</a:t>
            </a:r>
          </a:p>
        </p:txBody>
      </p:sp>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10</a:t>
            </a:fld>
            <a:r>
              <a:rPr lang="nb-NO" noProof="0" dirty="0"/>
              <a:t> ‒ </a:t>
            </a:r>
          </a:p>
        </p:txBody>
      </p:sp>
      <p:sp>
        <p:nvSpPr>
          <p:cNvPr id="7" name="Title 6">
            <a:extLst>
              <a:ext uri="{FF2B5EF4-FFF2-40B4-BE49-F238E27FC236}">
                <a16:creationId xmlns:a16="http://schemas.microsoft.com/office/drawing/2014/main" id="{AFAB9416-0A9F-47EF-B35A-71A6C2DFFEB4}"/>
              </a:ext>
            </a:extLst>
          </p:cNvPr>
          <p:cNvSpPr>
            <a:spLocks noGrp="1"/>
          </p:cNvSpPr>
          <p:nvPr>
            <p:ph type="title"/>
          </p:nvPr>
        </p:nvSpPr>
        <p:spPr>
          <a:xfrm>
            <a:off x="404786" y="382816"/>
            <a:ext cx="11382428" cy="313932"/>
          </a:xfrm>
        </p:spPr>
        <p:txBody>
          <a:bodyPr/>
          <a:lstStyle/>
          <a:p>
            <a:r>
              <a:rPr lang="nb-NO" sz="1600" dirty="0">
                <a:solidFill>
                  <a:schemeClr val="bg1">
                    <a:lumMod val="75000"/>
                  </a:schemeClr>
                </a:solidFill>
              </a:rPr>
              <a:t>LYDNIVÅ OG STØY</a:t>
            </a:r>
          </a:p>
        </p:txBody>
      </p:sp>
      <p:sp>
        <p:nvSpPr>
          <p:cNvPr id="11" name="Speech Bubble: Rectangle with Corners Rounded 6">
            <a:extLst>
              <a:ext uri="{FF2B5EF4-FFF2-40B4-BE49-F238E27FC236}">
                <a16:creationId xmlns:a16="http://schemas.microsoft.com/office/drawing/2014/main" id="{5CB6A3A0-273F-49A3-B5A1-0ED141DBAC46}"/>
              </a:ext>
            </a:extLst>
          </p:cNvPr>
          <p:cNvSpPr/>
          <p:nvPr/>
        </p:nvSpPr>
        <p:spPr>
          <a:xfrm>
            <a:off x="1887103" y="2512688"/>
            <a:ext cx="1942949" cy="1037230"/>
          </a:xfrm>
          <a:prstGeom prst="wedgeRoundRectCallout">
            <a:avLst>
              <a:gd name="adj1" fmla="val -6140"/>
              <a:gd name="adj2" fmla="val -63816"/>
              <a:gd name="adj3" fmla="val 16667"/>
            </a:avLst>
          </a:prstGeom>
          <a:solidFill>
            <a:srgbClr val="00AA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i="1" dirty="0"/>
              <a:t>Bråk når helikopteret flyr. De flyr ganske lavt.</a:t>
            </a:r>
          </a:p>
        </p:txBody>
      </p:sp>
      <p:sp>
        <p:nvSpPr>
          <p:cNvPr id="12" name="Speech Bubble: Rectangle with Corners Rounded 7">
            <a:extLst>
              <a:ext uri="{FF2B5EF4-FFF2-40B4-BE49-F238E27FC236}">
                <a16:creationId xmlns:a16="http://schemas.microsoft.com/office/drawing/2014/main" id="{52B99AC7-9834-4776-B6D5-5BF37F548920}"/>
              </a:ext>
            </a:extLst>
          </p:cNvPr>
          <p:cNvSpPr/>
          <p:nvPr/>
        </p:nvSpPr>
        <p:spPr>
          <a:xfrm>
            <a:off x="7262942" y="3705160"/>
            <a:ext cx="1767713" cy="1037230"/>
          </a:xfrm>
          <a:prstGeom prst="wedgeRoundRectCallout">
            <a:avLst>
              <a:gd name="adj1" fmla="val 60619"/>
              <a:gd name="adj2" fmla="val -14474"/>
              <a:gd name="adj3" fmla="val 16667"/>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i="1" dirty="0"/>
              <a:t>Bekymring om hva som skjer</a:t>
            </a:r>
          </a:p>
        </p:txBody>
      </p:sp>
      <p:sp>
        <p:nvSpPr>
          <p:cNvPr id="13" name="Speech Bubble: Rectangle with Corners Rounded 8">
            <a:extLst>
              <a:ext uri="{FF2B5EF4-FFF2-40B4-BE49-F238E27FC236}">
                <a16:creationId xmlns:a16="http://schemas.microsoft.com/office/drawing/2014/main" id="{E6650E0B-3D39-4633-B833-54E67F36C78F}"/>
              </a:ext>
            </a:extLst>
          </p:cNvPr>
          <p:cNvSpPr/>
          <p:nvPr/>
        </p:nvSpPr>
        <p:spPr>
          <a:xfrm>
            <a:off x="3965520" y="2496440"/>
            <a:ext cx="1715548" cy="1037230"/>
          </a:xfrm>
          <a:prstGeom prst="wedgeRoundRectCallout">
            <a:avLst>
              <a:gd name="adj1" fmla="val -35809"/>
              <a:gd name="adj2" fmla="val -69079"/>
              <a:gd name="adj3" fmla="val 16667"/>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i="1" dirty="0"/>
              <a:t>Hunden plages</a:t>
            </a:r>
          </a:p>
        </p:txBody>
      </p:sp>
      <p:sp>
        <p:nvSpPr>
          <p:cNvPr id="14" name="Speech Bubble: Rectangle with Corners Rounded 9">
            <a:extLst>
              <a:ext uri="{FF2B5EF4-FFF2-40B4-BE49-F238E27FC236}">
                <a16:creationId xmlns:a16="http://schemas.microsoft.com/office/drawing/2014/main" id="{C0AC15AA-179E-4A8D-A9BE-F1A8AEFFBCA6}"/>
              </a:ext>
            </a:extLst>
          </p:cNvPr>
          <p:cNvSpPr/>
          <p:nvPr/>
        </p:nvSpPr>
        <p:spPr>
          <a:xfrm>
            <a:off x="2279576" y="3657392"/>
            <a:ext cx="2263564" cy="1139759"/>
          </a:xfrm>
          <a:prstGeom prst="wedgeRoundRectCallout">
            <a:avLst>
              <a:gd name="adj1" fmla="val -59086"/>
              <a:gd name="adj2" fmla="val 3290"/>
              <a:gd name="adj3" fmla="val 16667"/>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i="1" dirty="0"/>
              <a:t>Lavtflyging over boligstrøk, litt irriterende. De kunne øve på lavtflyging over </a:t>
            </a:r>
            <a:r>
              <a:rPr lang="nb-NO" sz="1600" i="1" dirty="0"/>
              <a:t>skog.</a:t>
            </a:r>
          </a:p>
        </p:txBody>
      </p:sp>
      <p:sp>
        <p:nvSpPr>
          <p:cNvPr id="15" name="Speech Bubble: Rectangle with Corners Rounded 10">
            <a:extLst>
              <a:ext uri="{FF2B5EF4-FFF2-40B4-BE49-F238E27FC236}">
                <a16:creationId xmlns:a16="http://schemas.microsoft.com/office/drawing/2014/main" id="{6C81C004-704E-43F5-8CF8-F01422053E1F}"/>
              </a:ext>
            </a:extLst>
          </p:cNvPr>
          <p:cNvSpPr/>
          <p:nvPr/>
        </p:nvSpPr>
        <p:spPr>
          <a:xfrm>
            <a:off x="4695542" y="3705160"/>
            <a:ext cx="2414998" cy="1037230"/>
          </a:xfrm>
          <a:prstGeom prst="wedgeRoundRectCallout">
            <a:avLst/>
          </a:prstGeom>
          <a:solidFill>
            <a:srgbClr val="0076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200" dirty="0"/>
          </a:p>
          <a:p>
            <a:pPr algn="ctr"/>
            <a:r>
              <a:rPr lang="nb-NO" sz="1200" i="1" dirty="0"/>
              <a:t>Lurer på hvorfor det alltid må være på kvelden. Det skulle egentlig flys over skogen, men det blir ikke gjort.</a:t>
            </a:r>
            <a:endParaRPr lang="nb-NO" sz="2000" i="1" dirty="0"/>
          </a:p>
          <a:p>
            <a:pPr algn="ctr"/>
            <a:endParaRPr lang="nb-NO" sz="1400" dirty="0"/>
          </a:p>
        </p:txBody>
      </p:sp>
      <p:sp>
        <p:nvSpPr>
          <p:cNvPr id="16" name="Speech Bubble: Rectangle with Corners Rounded 11">
            <a:extLst>
              <a:ext uri="{FF2B5EF4-FFF2-40B4-BE49-F238E27FC236}">
                <a16:creationId xmlns:a16="http://schemas.microsoft.com/office/drawing/2014/main" id="{F92263AE-C88C-4A0C-AAFD-831F2BDA56C1}"/>
              </a:ext>
            </a:extLst>
          </p:cNvPr>
          <p:cNvSpPr/>
          <p:nvPr/>
        </p:nvSpPr>
        <p:spPr>
          <a:xfrm>
            <a:off x="5807968" y="2492896"/>
            <a:ext cx="1767713" cy="1037230"/>
          </a:xfrm>
          <a:prstGeom prst="wedgeRoundRectCallout">
            <a:avLst>
              <a:gd name="adj1" fmla="val 33702"/>
              <a:gd name="adj2" fmla="val -62500"/>
              <a:gd name="adj3" fmla="val 16667"/>
            </a:avLst>
          </a:prstGeom>
          <a:solidFill>
            <a:srgbClr val="8ABF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i="1" dirty="0"/>
              <a:t>Skummelt med skuddlyder</a:t>
            </a:r>
          </a:p>
        </p:txBody>
      </p:sp>
      <p:sp>
        <p:nvSpPr>
          <p:cNvPr id="17" name="Speech Bubble: Rectangle with Corners Rounded 13">
            <a:extLst>
              <a:ext uri="{FF2B5EF4-FFF2-40B4-BE49-F238E27FC236}">
                <a16:creationId xmlns:a16="http://schemas.microsoft.com/office/drawing/2014/main" id="{BE5A39A1-69DF-4BED-8BA8-0C20F97BECE3}"/>
              </a:ext>
            </a:extLst>
          </p:cNvPr>
          <p:cNvSpPr/>
          <p:nvPr/>
        </p:nvSpPr>
        <p:spPr>
          <a:xfrm>
            <a:off x="7693952" y="2511652"/>
            <a:ext cx="1715548" cy="1037230"/>
          </a:xfrm>
          <a:prstGeom prst="wedgeRoundRectCallout">
            <a:avLst>
              <a:gd name="adj1" fmla="val -35809"/>
              <a:gd name="adj2" fmla="val -69079"/>
              <a:gd name="adj3" fmla="val 16667"/>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i="1" dirty="0"/>
              <a:t>Generell påvirkning av livskvalitet</a:t>
            </a:r>
          </a:p>
        </p:txBody>
      </p:sp>
      <p:sp>
        <p:nvSpPr>
          <p:cNvPr id="18" name="Text Placeholder 9">
            <a:extLst>
              <a:ext uri="{FF2B5EF4-FFF2-40B4-BE49-F238E27FC236}">
                <a16:creationId xmlns:a16="http://schemas.microsoft.com/office/drawing/2014/main" id="{F688404B-409F-4B34-BDCD-31C9C5433405}"/>
              </a:ext>
            </a:extLst>
          </p:cNvPr>
          <p:cNvSpPr>
            <a:spLocks noGrp="1"/>
          </p:cNvSpPr>
          <p:nvPr>
            <p:ph type="body" sz="quarter" idx="17"/>
          </p:nvPr>
        </p:nvSpPr>
        <p:spPr>
          <a:xfrm>
            <a:off x="404813" y="6095007"/>
            <a:ext cx="11463337" cy="214313"/>
          </a:xfrm>
        </p:spPr>
        <p:txBody>
          <a:bodyPr/>
          <a:lstStyle/>
          <a:p>
            <a:r>
              <a:rPr lang="nb-NO" dirty="0"/>
              <a:t>Base: De som har svart «annet» på spørsmål om hvilke områder lydnivået fra driften av beredskapssenteret påvirker for dem, n</a:t>
            </a:r>
            <a:r>
              <a:rPr lang="nb-NO" sz="800" i="1" dirty="0">
                <a:solidFill>
                  <a:schemeClr val="bg1">
                    <a:lumMod val="50000"/>
                  </a:schemeClr>
                </a:solidFill>
                <a:cs typeface="Times New Roman" panose="02020603050405020304" pitchFamily="18" charset="0"/>
              </a:rPr>
              <a:t>=23</a:t>
            </a:r>
          </a:p>
        </p:txBody>
      </p:sp>
    </p:spTree>
    <p:extLst>
      <p:ext uri="{BB962C8B-B14F-4D97-AF65-F5344CB8AC3E}">
        <p14:creationId xmlns:p14="http://schemas.microsoft.com/office/powerpoint/2010/main" val="34869679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5E77C17-D01F-441E-89B1-B2905769C0F2}"/>
              </a:ext>
            </a:extLst>
          </p:cNvPr>
          <p:cNvSpPr>
            <a:spLocks noGrp="1"/>
          </p:cNvSpPr>
          <p:nvPr>
            <p:ph type="body" sz="quarter" idx="15"/>
          </p:nvPr>
        </p:nvSpPr>
        <p:spPr>
          <a:xfrm>
            <a:off x="407368" y="1768460"/>
            <a:ext cx="8067478" cy="292388"/>
          </a:xfrm>
        </p:spPr>
        <p:txBody>
          <a:bodyPr/>
          <a:lstStyle/>
          <a:p>
            <a:r>
              <a:rPr lang="nb-NO" sz="1600" i="1" dirty="0">
                <a:solidFill>
                  <a:schemeClr val="tx1"/>
                </a:solidFill>
              </a:rPr>
              <a:t>Hvor ofte har du hørt lyder fra følgende aktiviteter ved beredskapssenteret? </a:t>
            </a:r>
          </a:p>
        </p:txBody>
      </p:sp>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11</a:t>
            </a:fld>
            <a:r>
              <a:rPr lang="nb-NO" noProof="0" dirty="0"/>
              <a:t> ‒ </a:t>
            </a:r>
          </a:p>
        </p:txBody>
      </p:sp>
      <p:sp>
        <p:nvSpPr>
          <p:cNvPr id="7" name="Title 6">
            <a:extLst>
              <a:ext uri="{FF2B5EF4-FFF2-40B4-BE49-F238E27FC236}">
                <a16:creationId xmlns:a16="http://schemas.microsoft.com/office/drawing/2014/main" id="{AFAB9416-0A9F-47EF-B35A-71A6C2DFFEB4}"/>
              </a:ext>
            </a:extLst>
          </p:cNvPr>
          <p:cNvSpPr>
            <a:spLocks noGrp="1"/>
          </p:cNvSpPr>
          <p:nvPr>
            <p:ph type="title"/>
          </p:nvPr>
        </p:nvSpPr>
        <p:spPr>
          <a:xfrm>
            <a:off x="404786" y="382816"/>
            <a:ext cx="11382428" cy="313932"/>
          </a:xfrm>
        </p:spPr>
        <p:txBody>
          <a:bodyPr/>
          <a:lstStyle/>
          <a:p>
            <a:r>
              <a:rPr lang="nb-NO" sz="1600" dirty="0">
                <a:solidFill>
                  <a:schemeClr val="bg1">
                    <a:lumMod val="75000"/>
                  </a:schemeClr>
                </a:solidFill>
              </a:rPr>
              <a:t>LYDNIVÅ OG STØY</a:t>
            </a:r>
          </a:p>
        </p:txBody>
      </p:sp>
      <p:graphicFrame>
        <p:nvGraphicFramePr>
          <p:cNvPr id="139" name="Chart 4">
            <a:extLst>
              <a:ext uri="{FF2B5EF4-FFF2-40B4-BE49-F238E27FC236}">
                <a16:creationId xmlns:a16="http://schemas.microsoft.com/office/drawing/2014/main" id="{38CFAAF4-F219-4686-B1CC-9397E4675B22}"/>
              </a:ext>
            </a:extLst>
          </p:cNvPr>
          <p:cNvGraphicFramePr/>
          <p:nvPr>
            <p:extLst>
              <p:ext uri="{D42A27DB-BD31-4B8C-83A1-F6EECF244321}">
                <p14:modId xmlns:p14="http://schemas.microsoft.com/office/powerpoint/2010/main" val="3476553451"/>
              </p:ext>
            </p:extLst>
          </p:nvPr>
        </p:nvGraphicFramePr>
        <p:xfrm>
          <a:off x="263352" y="1988840"/>
          <a:ext cx="8219877" cy="4032447"/>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 Placeholder 9">
            <a:extLst>
              <a:ext uri="{FF2B5EF4-FFF2-40B4-BE49-F238E27FC236}">
                <a16:creationId xmlns:a16="http://schemas.microsoft.com/office/drawing/2014/main" id="{B3AF4C1C-2F88-4389-8993-17A0A5583486}"/>
              </a:ext>
            </a:extLst>
          </p:cNvPr>
          <p:cNvSpPr txBox="1">
            <a:spLocks/>
          </p:cNvSpPr>
          <p:nvPr/>
        </p:nvSpPr>
        <p:spPr>
          <a:xfrm>
            <a:off x="407368" y="6067032"/>
            <a:ext cx="11463417" cy="215444"/>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 typeface="Arial" panose="020B0604020202020204" pitchFamily="34" charset="0"/>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dirty="0"/>
              <a:t>Base: Alle, n=602</a:t>
            </a:r>
          </a:p>
        </p:txBody>
      </p:sp>
      <p:sp>
        <p:nvSpPr>
          <p:cNvPr id="11" name="Rectangle 5">
            <a:extLst>
              <a:ext uri="{FF2B5EF4-FFF2-40B4-BE49-F238E27FC236}">
                <a16:creationId xmlns:a16="http://schemas.microsoft.com/office/drawing/2014/main" id="{2A0E81EC-5C98-420C-867D-D18E5163EBA1}"/>
              </a:ext>
            </a:extLst>
          </p:cNvPr>
          <p:cNvSpPr/>
          <p:nvPr/>
        </p:nvSpPr>
        <p:spPr>
          <a:xfrm>
            <a:off x="8544272" y="2348880"/>
            <a:ext cx="3458966" cy="2448272"/>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nb-NO" sz="1200" dirty="0">
                <a:solidFill>
                  <a:schemeClr val="tx1"/>
                </a:solidFill>
              </a:rPr>
              <a:t>69 % svarer at de hører lyder fra helikopter ukentlig eller oftere, mens det er langt færre som hører lyder fra de øvrige aktivitetene ved beredskapssenteret. En høyere andel av de som er bosatt i Langhus svarer at de hører helikopter ukentlig eller oftere (77 %). Mens det er færre som er bosatt i Tårnåsen som hører helikopter ukentlig eller oftere (46 %). </a:t>
            </a:r>
          </a:p>
          <a:p>
            <a:pPr algn="just"/>
            <a:endParaRPr lang="nb-NO" sz="1200" dirty="0">
              <a:solidFill>
                <a:schemeClr val="tx1"/>
              </a:solidFill>
            </a:endParaRPr>
          </a:p>
          <a:p>
            <a:pPr algn="just"/>
            <a:r>
              <a:rPr lang="nb-NO" sz="1200" dirty="0">
                <a:solidFill>
                  <a:schemeClr val="tx1"/>
                </a:solidFill>
              </a:rPr>
              <a:t>Lyder fra eksplosjoner, sirene, skyting eller andre aktiviteter er det 1–2 % som svarer at de hører ukentlig eller oftere</a:t>
            </a:r>
            <a:r>
              <a:rPr lang="nb-NO" sz="1400" dirty="0">
                <a:solidFill>
                  <a:schemeClr val="tx1"/>
                </a:solidFill>
              </a:rPr>
              <a:t>. </a:t>
            </a:r>
          </a:p>
        </p:txBody>
      </p:sp>
      <p:sp>
        <p:nvSpPr>
          <p:cNvPr id="10" name="TekstSylinder 9">
            <a:extLst>
              <a:ext uri="{FF2B5EF4-FFF2-40B4-BE49-F238E27FC236}">
                <a16:creationId xmlns:a16="http://schemas.microsoft.com/office/drawing/2014/main" id="{FA2C081C-695C-40A8-A614-C52BEDAEC72D}"/>
              </a:ext>
            </a:extLst>
          </p:cNvPr>
          <p:cNvSpPr txBox="1"/>
          <p:nvPr/>
        </p:nvSpPr>
        <p:spPr>
          <a:xfrm>
            <a:off x="333944" y="674693"/>
            <a:ext cx="11881320" cy="954107"/>
          </a:xfrm>
          <a:prstGeom prst="rect">
            <a:avLst/>
          </a:prstGeom>
          <a:noFill/>
        </p:spPr>
        <p:txBody>
          <a:bodyPr wrap="square" rtlCol="0">
            <a:spAutoFit/>
          </a:bodyPr>
          <a:lstStyle/>
          <a:p>
            <a:r>
              <a:rPr lang="en-GB" sz="2800" dirty="0">
                <a:latin typeface="+mj-lt"/>
              </a:rPr>
              <a:t>Lyder fra helikopterflyving er mest utbredt; nær 7 av 10 hører dette ukentlig eller oftere </a:t>
            </a:r>
          </a:p>
        </p:txBody>
      </p:sp>
    </p:spTree>
    <p:extLst>
      <p:ext uri="{BB962C8B-B14F-4D97-AF65-F5344CB8AC3E}">
        <p14:creationId xmlns:p14="http://schemas.microsoft.com/office/powerpoint/2010/main" val="254092936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5E77C17-D01F-441E-89B1-B2905769C0F2}"/>
              </a:ext>
            </a:extLst>
          </p:cNvPr>
          <p:cNvSpPr>
            <a:spLocks noGrp="1"/>
          </p:cNvSpPr>
          <p:nvPr>
            <p:ph type="body" sz="quarter" idx="15"/>
          </p:nvPr>
        </p:nvSpPr>
        <p:spPr>
          <a:xfrm>
            <a:off x="335360" y="1666255"/>
            <a:ext cx="11463417" cy="538609"/>
          </a:xfrm>
        </p:spPr>
        <p:txBody>
          <a:bodyPr/>
          <a:lstStyle/>
          <a:p>
            <a:r>
              <a:rPr lang="nb-NO" sz="1600" i="1" dirty="0">
                <a:solidFill>
                  <a:schemeClr val="tx1"/>
                </a:solidFill>
                <a:cs typeface="Times New Roman" panose="02020603050405020304" pitchFamily="18" charset="0"/>
              </a:rPr>
              <a:t>Du har svart at du har hørt lyder fra én eller flere aktiviteter ved beredskapssenteret. Når på døgnet vil du si at du vanligvis har hørt disse lydene? </a:t>
            </a:r>
          </a:p>
        </p:txBody>
      </p:sp>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12</a:t>
            </a:fld>
            <a:r>
              <a:rPr lang="nb-NO" noProof="0" dirty="0"/>
              <a:t> ‒ </a:t>
            </a:r>
          </a:p>
        </p:txBody>
      </p:sp>
      <p:sp>
        <p:nvSpPr>
          <p:cNvPr id="7" name="Title 6">
            <a:extLst>
              <a:ext uri="{FF2B5EF4-FFF2-40B4-BE49-F238E27FC236}">
                <a16:creationId xmlns:a16="http://schemas.microsoft.com/office/drawing/2014/main" id="{AFAB9416-0A9F-47EF-B35A-71A6C2DFFEB4}"/>
              </a:ext>
            </a:extLst>
          </p:cNvPr>
          <p:cNvSpPr>
            <a:spLocks noGrp="1"/>
          </p:cNvSpPr>
          <p:nvPr>
            <p:ph type="title"/>
          </p:nvPr>
        </p:nvSpPr>
        <p:spPr>
          <a:xfrm>
            <a:off x="263352" y="382816"/>
            <a:ext cx="11382428" cy="313932"/>
          </a:xfrm>
        </p:spPr>
        <p:txBody>
          <a:bodyPr/>
          <a:lstStyle/>
          <a:p>
            <a:r>
              <a:rPr lang="nb-NO" sz="1600" dirty="0">
                <a:solidFill>
                  <a:schemeClr val="bg1">
                    <a:lumMod val="75000"/>
                  </a:schemeClr>
                </a:solidFill>
              </a:rPr>
              <a:t>LYDNIVÅ OG STØY</a:t>
            </a:r>
          </a:p>
        </p:txBody>
      </p:sp>
      <p:grpSp>
        <p:nvGrpSpPr>
          <p:cNvPr id="11" name="Group 8">
            <a:extLst>
              <a:ext uri="{FF2B5EF4-FFF2-40B4-BE49-F238E27FC236}">
                <a16:creationId xmlns:a16="http://schemas.microsoft.com/office/drawing/2014/main" id="{95C0C344-43CE-4B9C-81DF-6E54759DD177}"/>
              </a:ext>
            </a:extLst>
          </p:cNvPr>
          <p:cNvGrpSpPr/>
          <p:nvPr/>
        </p:nvGrpSpPr>
        <p:grpSpPr>
          <a:xfrm>
            <a:off x="1703512" y="2628536"/>
            <a:ext cx="1440160" cy="1520544"/>
            <a:chOff x="244450" y="1414556"/>
            <a:chExt cx="2585095" cy="2585095"/>
          </a:xfrm>
        </p:grpSpPr>
        <p:graphicFrame>
          <p:nvGraphicFramePr>
            <p:cNvPr id="12" name="Chart 5">
              <a:extLst>
                <a:ext uri="{FF2B5EF4-FFF2-40B4-BE49-F238E27FC236}">
                  <a16:creationId xmlns:a16="http://schemas.microsoft.com/office/drawing/2014/main" id="{75F3A5B7-99B4-4124-A013-3944E57231BC}"/>
                </a:ext>
              </a:extLst>
            </p:cNvPr>
            <p:cNvGraphicFramePr/>
            <p:nvPr>
              <p:extLst>
                <p:ext uri="{D42A27DB-BD31-4B8C-83A1-F6EECF244321}">
                  <p14:modId xmlns:p14="http://schemas.microsoft.com/office/powerpoint/2010/main" val="474247563"/>
                </p:ext>
              </p:extLst>
            </p:nvPr>
          </p:nvGraphicFramePr>
          <p:xfrm>
            <a:off x="309265" y="1418699"/>
            <a:ext cx="2519446" cy="2517158"/>
          </p:xfrm>
          <a:graphic>
            <a:graphicData uri="http://schemas.openxmlformats.org/drawingml/2006/chart">
              <c:chart xmlns:c="http://schemas.openxmlformats.org/drawingml/2006/chart" xmlns:r="http://schemas.openxmlformats.org/officeDocument/2006/relationships" r:id="rId2"/>
            </a:graphicData>
          </a:graphic>
        </p:graphicFrame>
        <p:sp>
          <p:nvSpPr>
            <p:cNvPr id="13" name="Rectangle 112">
              <a:extLst>
                <a:ext uri="{FF2B5EF4-FFF2-40B4-BE49-F238E27FC236}">
                  <a16:creationId xmlns:a16="http://schemas.microsoft.com/office/drawing/2014/main" id="{DBB89D61-1E9C-481D-A7B0-86FD23F1AE7E}"/>
                </a:ext>
              </a:extLst>
            </p:cNvPr>
            <p:cNvSpPr/>
            <p:nvPr/>
          </p:nvSpPr>
          <p:spPr bwMode="gray">
            <a:xfrm>
              <a:off x="244450" y="1414556"/>
              <a:ext cx="2585095" cy="2585095"/>
            </a:xfrm>
            <a:custGeom>
              <a:avLst/>
              <a:gdLst/>
              <a:ahLst/>
              <a:cxnLst/>
              <a:rect l="l" t="t" r="r" b="b"/>
              <a:pathLst>
                <a:path w="4248472" h="4248472">
                  <a:moveTo>
                    <a:pt x="3963192" y="3851992"/>
                  </a:moveTo>
                  <a:cubicBezTo>
                    <a:pt x="3883654" y="3851992"/>
                    <a:pt x="3819176" y="3916470"/>
                    <a:pt x="3819176" y="3996008"/>
                  </a:cubicBezTo>
                  <a:cubicBezTo>
                    <a:pt x="3819176" y="4075546"/>
                    <a:pt x="3883654" y="4140024"/>
                    <a:pt x="3963192" y="4140024"/>
                  </a:cubicBezTo>
                  <a:cubicBezTo>
                    <a:pt x="4042730" y="4140024"/>
                    <a:pt x="4107208" y="4075546"/>
                    <a:pt x="4107208" y="3996008"/>
                  </a:cubicBezTo>
                  <a:cubicBezTo>
                    <a:pt x="4107208" y="3916470"/>
                    <a:pt x="4042730" y="3851992"/>
                    <a:pt x="3963192" y="3851992"/>
                  </a:cubicBezTo>
                  <a:close/>
                  <a:moveTo>
                    <a:pt x="3554050" y="3851992"/>
                  </a:moveTo>
                  <a:cubicBezTo>
                    <a:pt x="3474512" y="3851992"/>
                    <a:pt x="3410034" y="3916470"/>
                    <a:pt x="3410034" y="3996008"/>
                  </a:cubicBezTo>
                  <a:cubicBezTo>
                    <a:pt x="3410034" y="4075546"/>
                    <a:pt x="3474512" y="4140024"/>
                    <a:pt x="3554050" y="4140024"/>
                  </a:cubicBezTo>
                  <a:cubicBezTo>
                    <a:pt x="3633588" y="4140024"/>
                    <a:pt x="3698066" y="4075546"/>
                    <a:pt x="3698066" y="3996008"/>
                  </a:cubicBezTo>
                  <a:cubicBezTo>
                    <a:pt x="3698066" y="3916470"/>
                    <a:pt x="3633588" y="3851992"/>
                    <a:pt x="3554050" y="3851992"/>
                  </a:cubicBezTo>
                  <a:close/>
                  <a:moveTo>
                    <a:pt x="3144907" y="3851992"/>
                  </a:moveTo>
                  <a:cubicBezTo>
                    <a:pt x="3065369" y="3851992"/>
                    <a:pt x="3000891" y="3916470"/>
                    <a:pt x="3000891" y="3996008"/>
                  </a:cubicBezTo>
                  <a:cubicBezTo>
                    <a:pt x="3000891" y="4075546"/>
                    <a:pt x="3065369" y="4140024"/>
                    <a:pt x="3144907" y="4140024"/>
                  </a:cubicBezTo>
                  <a:cubicBezTo>
                    <a:pt x="3224445" y="4140024"/>
                    <a:pt x="3288923" y="4075546"/>
                    <a:pt x="3288923" y="3996008"/>
                  </a:cubicBezTo>
                  <a:cubicBezTo>
                    <a:pt x="3288923" y="3916470"/>
                    <a:pt x="3224445" y="3851992"/>
                    <a:pt x="3144907" y="3851992"/>
                  </a:cubicBezTo>
                  <a:close/>
                  <a:moveTo>
                    <a:pt x="2735764" y="3851992"/>
                  </a:moveTo>
                  <a:cubicBezTo>
                    <a:pt x="2656226" y="3851992"/>
                    <a:pt x="2591748" y="3916470"/>
                    <a:pt x="2591748" y="3996008"/>
                  </a:cubicBezTo>
                  <a:cubicBezTo>
                    <a:pt x="2591748" y="4075546"/>
                    <a:pt x="2656226" y="4140024"/>
                    <a:pt x="2735764" y="4140024"/>
                  </a:cubicBezTo>
                  <a:cubicBezTo>
                    <a:pt x="2815302" y="4140024"/>
                    <a:pt x="2879780" y="4075546"/>
                    <a:pt x="2879780" y="3996008"/>
                  </a:cubicBezTo>
                  <a:cubicBezTo>
                    <a:pt x="2879780" y="3916470"/>
                    <a:pt x="2815302" y="3851992"/>
                    <a:pt x="2735764" y="3851992"/>
                  </a:cubicBezTo>
                  <a:close/>
                  <a:moveTo>
                    <a:pt x="2326621" y="3851992"/>
                  </a:moveTo>
                  <a:cubicBezTo>
                    <a:pt x="2247083" y="3851992"/>
                    <a:pt x="2182605" y="3916470"/>
                    <a:pt x="2182605" y="3996008"/>
                  </a:cubicBezTo>
                  <a:cubicBezTo>
                    <a:pt x="2182605" y="4075546"/>
                    <a:pt x="2247083" y="4140024"/>
                    <a:pt x="2326621" y="4140024"/>
                  </a:cubicBezTo>
                  <a:cubicBezTo>
                    <a:pt x="2406159" y="4140024"/>
                    <a:pt x="2470637" y="4075546"/>
                    <a:pt x="2470637" y="3996008"/>
                  </a:cubicBezTo>
                  <a:cubicBezTo>
                    <a:pt x="2470637" y="3916470"/>
                    <a:pt x="2406159" y="3851992"/>
                    <a:pt x="2326621" y="3851992"/>
                  </a:cubicBezTo>
                  <a:close/>
                  <a:moveTo>
                    <a:pt x="1917478" y="3851992"/>
                  </a:moveTo>
                  <a:cubicBezTo>
                    <a:pt x="1837940" y="3851992"/>
                    <a:pt x="1773462" y="3916470"/>
                    <a:pt x="1773462" y="3996008"/>
                  </a:cubicBezTo>
                  <a:cubicBezTo>
                    <a:pt x="1773462" y="4075546"/>
                    <a:pt x="1837940" y="4140024"/>
                    <a:pt x="1917478" y="4140024"/>
                  </a:cubicBezTo>
                  <a:cubicBezTo>
                    <a:pt x="1997016" y="4140024"/>
                    <a:pt x="2061494" y="4075546"/>
                    <a:pt x="2061494" y="3996008"/>
                  </a:cubicBezTo>
                  <a:cubicBezTo>
                    <a:pt x="2061494" y="3916470"/>
                    <a:pt x="1997016" y="3851992"/>
                    <a:pt x="1917478" y="3851992"/>
                  </a:cubicBezTo>
                  <a:close/>
                  <a:moveTo>
                    <a:pt x="1508335" y="3851992"/>
                  </a:moveTo>
                  <a:cubicBezTo>
                    <a:pt x="1428797" y="3851992"/>
                    <a:pt x="1364319" y="3916470"/>
                    <a:pt x="1364319" y="3996008"/>
                  </a:cubicBezTo>
                  <a:cubicBezTo>
                    <a:pt x="1364319" y="4075546"/>
                    <a:pt x="1428797" y="4140024"/>
                    <a:pt x="1508335" y="4140024"/>
                  </a:cubicBezTo>
                  <a:cubicBezTo>
                    <a:pt x="1587873" y="4140024"/>
                    <a:pt x="1652351" y="4075546"/>
                    <a:pt x="1652351" y="3996008"/>
                  </a:cubicBezTo>
                  <a:cubicBezTo>
                    <a:pt x="1652351" y="3916470"/>
                    <a:pt x="1587873" y="3851992"/>
                    <a:pt x="1508335" y="3851992"/>
                  </a:cubicBezTo>
                  <a:close/>
                  <a:moveTo>
                    <a:pt x="1099192" y="3851992"/>
                  </a:moveTo>
                  <a:cubicBezTo>
                    <a:pt x="1019654" y="3851992"/>
                    <a:pt x="955176" y="3916470"/>
                    <a:pt x="955176" y="3996008"/>
                  </a:cubicBezTo>
                  <a:cubicBezTo>
                    <a:pt x="955176" y="4075546"/>
                    <a:pt x="1019654" y="4140024"/>
                    <a:pt x="1099192" y="4140024"/>
                  </a:cubicBezTo>
                  <a:cubicBezTo>
                    <a:pt x="1178730" y="4140024"/>
                    <a:pt x="1243208" y="4075546"/>
                    <a:pt x="1243208" y="3996008"/>
                  </a:cubicBezTo>
                  <a:cubicBezTo>
                    <a:pt x="1243208" y="3916470"/>
                    <a:pt x="1178730" y="3851992"/>
                    <a:pt x="1099192" y="3851992"/>
                  </a:cubicBezTo>
                  <a:close/>
                  <a:moveTo>
                    <a:pt x="690049" y="3851992"/>
                  </a:moveTo>
                  <a:cubicBezTo>
                    <a:pt x="610511" y="3851992"/>
                    <a:pt x="546033" y="3916470"/>
                    <a:pt x="546033" y="3996008"/>
                  </a:cubicBezTo>
                  <a:cubicBezTo>
                    <a:pt x="546033" y="4075546"/>
                    <a:pt x="610511" y="4140024"/>
                    <a:pt x="690049" y="4140024"/>
                  </a:cubicBezTo>
                  <a:cubicBezTo>
                    <a:pt x="769587" y="4140024"/>
                    <a:pt x="834065" y="4075546"/>
                    <a:pt x="834065" y="3996008"/>
                  </a:cubicBezTo>
                  <a:cubicBezTo>
                    <a:pt x="834065" y="3916470"/>
                    <a:pt x="769587" y="3851992"/>
                    <a:pt x="690049" y="3851992"/>
                  </a:cubicBezTo>
                  <a:close/>
                  <a:moveTo>
                    <a:pt x="280906" y="3851992"/>
                  </a:moveTo>
                  <a:cubicBezTo>
                    <a:pt x="201368" y="3851992"/>
                    <a:pt x="136890" y="3916470"/>
                    <a:pt x="136890" y="3996008"/>
                  </a:cubicBezTo>
                  <a:cubicBezTo>
                    <a:pt x="136890" y="4075546"/>
                    <a:pt x="201368" y="4140024"/>
                    <a:pt x="280906" y="4140024"/>
                  </a:cubicBezTo>
                  <a:cubicBezTo>
                    <a:pt x="360444" y="4140024"/>
                    <a:pt x="424922" y="4075546"/>
                    <a:pt x="424922" y="3996008"/>
                  </a:cubicBezTo>
                  <a:cubicBezTo>
                    <a:pt x="424922" y="3916470"/>
                    <a:pt x="360444" y="3851992"/>
                    <a:pt x="280906" y="3851992"/>
                  </a:cubicBezTo>
                  <a:close/>
                  <a:moveTo>
                    <a:pt x="3970176" y="3436765"/>
                  </a:moveTo>
                  <a:cubicBezTo>
                    <a:pt x="3890638" y="3436765"/>
                    <a:pt x="3826160" y="3501243"/>
                    <a:pt x="3826160" y="3580781"/>
                  </a:cubicBezTo>
                  <a:cubicBezTo>
                    <a:pt x="3826160" y="3660319"/>
                    <a:pt x="3890638" y="3724797"/>
                    <a:pt x="3970176" y="3724797"/>
                  </a:cubicBezTo>
                  <a:cubicBezTo>
                    <a:pt x="4049714" y="3724797"/>
                    <a:pt x="4114192" y="3660319"/>
                    <a:pt x="4114192" y="3580781"/>
                  </a:cubicBezTo>
                  <a:cubicBezTo>
                    <a:pt x="4114192" y="3501243"/>
                    <a:pt x="4049714" y="3436765"/>
                    <a:pt x="3970176" y="3436765"/>
                  </a:cubicBezTo>
                  <a:close/>
                  <a:moveTo>
                    <a:pt x="3561034" y="3436765"/>
                  </a:moveTo>
                  <a:cubicBezTo>
                    <a:pt x="3481496" y="3436765"/>
                    <a:pt x="3417018" y="3501243"/>
                    <a:pt x="3417018" y="3580781"/>
                  </a:cubicBezTo>
                  <a:cubicBezTo>
                    <a:pt x="3417018" y="3660319"/>
                    <a:pt x="3481496" y="3724797"/>
                    <a:pt x="3561034" y="3724797"/>
                  </a:cubicBezTo>
                  <a:cubicBezTo>
                    <a:pt x="3640572" y="3724797"/>
                    <a:pt x="3705050" y="3660319"/>
                    <a:pt x="3705050" y="3580781"/>
                  </a:cubicBezTo>
                  <a:cubicBezTo>
                    <a:pt x="3705050" y="3501243"/>
                    <a:pt x="3640572" y="3436765"/>
                    <a:pt x="3561034" y="3436765"/>
                  </a:cubicBezTo>
                  <a:close/>
                  <a:moveTo>
                    <a:pt x="3151891" y="3436765"/>
                  </a:moveTo>
                  <a:cubicBezTo>
                    <a:pt x="3072353" y="3436765"/>
                    <a:pt x="3007875" y="3501243"/>
                    <a:pt x="3007875" y="3580781"/>
                  </a:cubicBezTo>
                  <a:cubicBezTo>
                    <a:pt x="3007875" y="3660319"/>
                    <a:pt x="3072353" y="3724797"/>
                    <a:pt x="3151891" y="3724797"/>
                  </a:cubicBezTo>
                  <a:cubicBezTo>
                    <a:pt x="3231429" y="3724797"/>
                    <a:pt x="3295907" y="3660319"/>
                    <a:pt x="3295907" y="3580781"/>
                  </a:cubicBezTo>
                  <a:cubicBezTo>
                    <a:pt x="3295907" y="3501243"/>
                    <a:pt x="3231429" y="3436765"/>
                    <a:pt x="3151891" y="3436765"/>
                  </a:cubicBezTo>
                  <a:close/>
                  <a:moveTo>
                    <a:pt x="2742748" y="3436765"/>
                  </a:moveTo>
                  <a:cubicBezTo>
                    <a:pt x="2663210" y="3436765"/>
                    <a:pt x="2598732" y="3501243"/>
                    <a:pt x="2598732" y="3580781"/>
                  </a:cubicBezTo>
                  <a:cubicBezTo>
                    <a:pt x="2598732" y="3660319"/>
                    <a:pt x="2663210" y="3724797"/>
                    <a:pt x="2742748" y="3724797"/>
                  </a:cubicBezTo>
                  <a:cubicBezTo>
                    <a:pt x="2822286" y="3724797"/>
                    <a:pt x="2886764" y="3660319"/>
                    <a:pt x="2886764" y="3580781"/>
                  </a:cubicBezTo>
                  <a:cubicBezTo>
                    <a:pt x="2886764" y="3501243"/>
                    <a:pt x="2822286" y="3436765"/>
                    <a:pt x="2742748" y="3436765"/>
                  </a:cubicBezTo>
                  <a:close/>
                  <a:moveTo>
                    <a:pt x="2333605" y="3436765"/>
                  </a:moveTo>
                  <a:cubicBezTo>
                    <a:pt x="2254067" y="3436765"/>
                    <a:pt x="2189589" y="3501243"/>
                    <a:pt x="2189589" y="3580781"/>
                  </a:cubicBezTo>
                  <a:cubicBezTo>
                    <a:pt x="2189589" y="3660319"/>
                    <a:pt x="2254067" y="3724797"/>
                    <a:pt x="2333605" y="3724797"/>
                  </a:cubicBezTo>
                  <a:cubicBezTo>
                    <a:pt x="2413143" y="3724797"/>
                    <a:pt x="2477621" y="3660319"/>
                    <a:pt x="2477621" y="3580781"/>
                  </a:cubicBezTo>
                  <a:cubicBezTo>
                    <a:pt x="2477621" y="3501243"/>
                    <a:pt x="2413143" y="3436765"/>
                    <a:pt x="2333605" y="3436765"/>
                  </a:cubicBezTo>
                  <a:close/>
                  <a:moveTo>
                    <a:pt x="1924462" y="3436765"/>
                  </a:moveTo>
                  <a:cubicBezTo>
                    <a:pt x="1844924" y="3436765"/>
                    <a:pt x="1780446" y="3501243"/>
                    <a:pt x="1780446" y="3580781"/>
                  </a:cubicBezTo>
                  <a:cubicBezTo>
                    <a:pt x="1780446" y="3660319"/>
                    <a:pt x="1844924" y="3724797"/>
                    <a:pt x="1924462" y="3724797"/>
                  </a:cubicBezTo>
                  <a:cubicBezTo>
                    <a:pt x="2004000" y="3724797"/>
                    <a:pt x="2068478" y="3660319"/>
                    <a:pt x="2068478" y="3580781"/>
                  </a:cubicBezTo>
                  <a:cubicBezTo>
                    <a:pt x="2068478" y="3501243"/>
                    <a:pt x="2004000" y="3436765"/>
                    <a:pt x="1924462" y="3436765"/>
                  </a:cubicBezTo>
                  <a:close/>
                  <a:moveTo>
                    <a:pt x="1515319" y="3436765"/>
                  </a:moveTo>
                  <a:cubicBezTo>
                    <a:pt x="1435781" y="3436765"/>
                    <a:pt x="1371303" y="3501243"/>
                    <a:pt x="1371303" y="3580781"/>
                  </a:cubicBezTo>
                  <a:cubicBezTo>
                    <a:pt x="1371303" y="3660319"/>
                    <a:pt x="1435781" y="3724797"/>
                    <a:pt x="1515319" y="3724797"/>
                  </a:cubicBezTo>
                  <a:cubicBezTo>
                    <a:pt x="1594857" y="3724797"/>
                    <a:pt x="1659335" y="3660319"/>
                    <a:pt x="1659335" y="3580781"/>
                  </a:cubicBezTo>
                  <a:cubicBezTo>
                    <a:pt x="1659335" y="3501243"/>
                    <a:pt x="1594857" y="3436765"/>
                    <a:pt x="1515319" y="3436765"/>
                  </a:cubicBezTo>
                  <a:close/>
                  <a:moveTo>
                    <a:pt x="1106176" y="3436765"/>
                  </a:moveTo>
                  <a:cubicBezTo>
                    <a:pt x="1026638" y="3436765"/>
                    <a:pt x="962160" y="3501243"/>
                    <a:pt x="962160" y="3580781"/>
                  </a:cubicBezTo>
                  <a:cubicBezTo>
                    <a:pt x="962160" y="3660319"/>
                    <a:pt x="1026638" y="3724797"/>
                    <a:pt x="1106176" y="3724797"/>
                  </a:cubicBezTo>
                  <a:cubicBezTo>
                    <a:pt x="1185714" y="3724797"/>
                    <a:pt x="1250192" y="3660319"/>
                    <a:pt x="1250192" y="3580781"/>
                  </a:cubicBezTo>
                  <a:cubicBezTo>
                    <a:pt x="1250192" y="3501243"/>
                    <a:pt x="1185714" y="3436765"/>
                    <a:pt x="1106176" y="3436765"/>
                  </a:cubicBezTo>
                  <a:close/>
                  <a:moveTo>
                    <a:pt x="697033" y="3436765"/>
                  </a:moveTo>
                  <a:cubicBezTo>
                    <a:pt x="617495" y="3436765"/>
                    <a:pt x="553017" y="3501243"/>
                    <a:pt x="553017" y="3580781"/>
                  </a:cubicBezTo>
                  <a:cubicBezTo>
                    <a:pt x="553017" y="3660319"/>
                    <a:pt x="617495" y="3724797"/>
                    <a:pt x="697033" y="3724797"/>
                  </a:cubicBezTo>
                  <a:cubicBezTo>
                    <a:pt x="776571" y="3724797"/>
                    <a:pt x="841049" y="3660319"/>
                    <a:pt x="841049" y="3580781"/>
                  </a:cubicBezTo>
                  <a:cubicBezTo>
                    <a:pt x="841049" y="3501243"/>
                    <a:pt x="776571" y="3436765"/>
                    <a:pt x="697033" y="3436765"/>
                  </a:cubicBezTo>
                  <a:close/>
                  <a:moveTo>
                    <a:pt x="287890" y="3436765"/>
                  </a:moveTo>
                  <a:cubicBezTo>
                    <a:pt x="208352" y="3436765"/>
                    <a:pt x="143874" y="3501243"/>
                    <a:pt x="143874" y="3580781"/>
                  </a:cubicBezTo>
                  <a:cubicBezTo>
                    <a:pt x="143874" y="3660319"/>
                    <a:pt x="208352" y="3724797"/>
                    <a:pt x="287890" y="3724797"/>
                  </a:cubicBezTo>
                  <a:cubicBezTo>
                    <a:pt x="367428" y="3724797"/>
                    <a:pt x="431906" y="3660319"/>
                    <a:pt x="431906" y="3580781"/>
                  </a:cubicBezTo>
                  <a:cubicBezTo>
                    <a:pt x="431906" y="3501243"/>
                    <a:pt x="367428" y="3436765"/>
                    <a:pt x="287890" y="3436765"/>
                  </a:cubicBezTo>
                  <a:close/>
                  <a:moveTo>
                    <a:pt x="3969476" y="3021542"/>
                  </a:moveTo>
                  <a:cubicBezTo>
                    <a:pt x="3889938" y="3021542"/>
                    <a:pt x="3825460" y="3086020"/>
                    <a:pt x="3825460" y="3165558"/>
                  </a:cubicBezTo>
                  <a:cubicBezTo>
                    <a:pt x="3825460" y="3245096"/>
                    <a:pt x="3889938" y="3309574"/>
                    <a:pt x="3969476" y="3309574"/>
                  </a:cubicBezTo>
                  <a:cubicBezTo>
                    <a:pt x="4049014" y="3309574"/>
                    <a:pt x="4113492" y="3245096"/>
                    <a:pt x="4113492" y="3165558"/>
                  </a:cubicBezTo>
                  <a:cubicBezTo>
                    <a:pt x="4113492" y="3086020"/>
                    <a:pt x="4049014" y="3021542"/>
                    <a:pt x="3969476" y="3021542"/>
                  </a:cubicBezTo>
                  <a:close/>
                  <a:moveTo>
                    <a:pt x="3560334" y="3021542"/>
                  </a:moveTo>
                  <a:cubicBezTo>
                    <a:pt x="3480796" y="3021542"/>
                    <a:pt x="3416318" y="3086020"/>
                    <a:pt x="3416318" y="3165558"/>
                  </a:cubicBezTo>
                  <a:cubicBezTo>
                    <a:pt x="3416318" y="3245096"/>
                    <a:pt x="3480796" y="3309574"/>
                    <a:pt x="3560334" y="3309574"/>
                  </a:cubicBezTo>
                  <a:cubicBezTo>
                    <a:pt x="3639872" y="3309574"/>
                    <a:pt x="3704350" y="3245096"/>
                    <a:pt x="3704350" y="3165558"/>
                  </a:cubicBezTo>
                  <a:cubicBezTo>
                    <a:pt x="3704350" y="3086020"/>
                    <a:pt x="3639872" y="3021542"/>
                    <a:pt x="3560334" y="3021542"/>
                  </a:cubicBezTo>
                  <a:close/>
                  <a:moveTo>
                    <a:pt x="3151191" y="3021542"/>
                  </a:moveTo>
                  <a:cubicBezTo>
                    <a:pt x="3071653" y="3021542"/>
                    <a:pt x="3007175" y="3086020"/>
                    <a:pt x="3007175" y="3165558"/>
                  </a:cubicBezTo>
                  <a:cubicBezTo>
                    <a:pt x="3007175" y="3245096"/>
                    <a:pt x="3071653" y="3309574"/>
                    <a:pt x="3151191" y="3309574"/>
                  </a:cubicBezTo>
                  <a:cubicBezTo>
                    <a:pt x="3230729" y="3309574"/>
                    <a:pt x="3295207" y="3245096"/>
                    <a:pt x="3295207" y="3165558"/>
                  </a:cubicBezTo>
                  <a:cubicBezTo>
                    <a:pt x="3295207" y="3086020"/>
                    <a:pt x="3230729" y="3021542"/>
                    <a:pt x="3151191" y="3021542"/>
                  </a:cubicBezTo>
                  <a:close/>
                  <a:moveTo>
                    <a:pt x="2742048" y="3021542"/>
                  </a:moveTo>
                  <a:cubicBezTo>
                    <a:pt x="2662510" y="3021542"/>
                    <a:pt x="2598032" y="3086020"/>
                    <a:pt x="2598032" y="3165558"/>
                  </a:cubicBezTo>
                  <a:cubicBezTo>
                    <a:pt x="2598032" y="3245096"/>
                    <a:pt x="2662510" y="3309574"/>
                    <a:pt x="2742048" y="3309574"/>
                  </a:cubicBezTo>
                  <a:cubicBezTo>
                    <a:pt x="2821586" y="3309574"/>
                    <a:pt x="2886064" y="3245096"/>
                    <a:pt x="2886064" y="3165558"/>
                  </a:cubicBezTo>
                  <a:cubicBezTo>
                    <a:pt x="2886064" y="3086020"/>
                    <a:pt x="2821586" y="3021542"/>
                    <a:pt x="2742048" y="3021542"/>
                  </a:cubicBezTo>
                  <a:close/>
                  <a:moveTo>
                    <a:pt x="2332905" y="3021542"/>
                  </a:moveTo>
                  <a:cubicBezTo>
                    <a:pt x="2253367" y="3021542"/>
                    <a:pt x="2188889" y="3086020"/>
                    <a:pt x="2188889" y="3165558"/>
                  </a:cubicBezTo>
                  <a:cubicBezTo>
                    <a:pt x="2188889" y="3245096"/>
                    <a:pt x="2253367" y="3309574"/>
                    <a:pt x="2332905" y="3309574"/>
                  </a:cubicBezTo>
                  <a:cubicBezTo>
                    <a:pt x="2412443" y="3309574"/>
                    <a:pt x="2476921" y="3245096"/>
                    <a:pt x="2476921" y="3165558"/>
                  </a:cubicBezTo>
                  <a:cubicBezTo>
                    <a:pt x="2476921" y="3086020"/>
                    <a:pt x="2412443" y="3021542"/>
                    <a:pt x="2332905" y="3021542"/>
                  </a:cubicBezTo>
                  <a:close/>
                  <a:moveTo>
                    <a:pt x="1923762" y="3021542"/>
                  </a:moveTo>
                  <a:cubicBezTo>
                    <a:pt x="1844224" y="3021542"/>
                    <a:pt x="1779746" y="3086020"/>
                    <a:pt x="1779746" y="3165558"/>
                  </a:cubicBezTo>
                  <a:cubicBezTo>
                    <a:pt x="1779746" y="3245096"/>
                    <a:pt x="1844224" y="3309574"/>
                    <a:pt x="1923762" y="3309574"/>
                  </a:cubicBezTo>
                  <a:cubicBezTo>
                    <a:pt x="2003300" y="3309574"/>
                    <a:pt x="2067778" y="3245096"/>
                    <a:pt x="2067778" y="3165558"/>
                  </a:cubicBezTo>
                  <a:cubicBezTo>
                    <a:pt x="2067778" y="3086020"/>
                    <a:pt x="2003300" y="3021542"/>
                    <a:pt x="1923762" y="3021542"/>
                  </a:cubicBezTo>
                  <a:close/>
                  <a:moveTo>
                    <a:pt x="1514619" y="3021542"/>
                  </a:moveTo>
                  <a:cubicBezTo>
                    <a:pt x="1435081" y="3021542"/>
                    <a:pt x="1370603" y="3086020"/>
                    <a:pt x="1370603" y="3165558"/>
                  </a:cubicBezTo>
                  <a:cubicBezTo>
                    <a:pt x="1370603" y="3245096"/>
                    <a:pt x="1435081" y="3309574"/>
                    <a:pt x="1514619" y="3309574"/>
                  </a:cubicBezTo>
                  <a:cubicBezTo>
                    <a:pt x="1594157" y="3309574"/>
                    <a:pt x="1658635" y="3245096"/>
                    <a:pt x="1658635" y="3165558"/>
                  </a:cubicBezTo>
                  <a:cubicBezTo>
                    <a:pt x="1658635" y="3086020"/>
                    <a:pt x="1594157" y="3021542"/>
                    <a:pt x="1514619" y="3021542"/>
                  </a:cubicBezTo>
                  <a:close/>
                  <a:moveTo>
                    <a:pt x="1105476" y="3021542"/>
                  </a:moveTo>
                  <a:cubicBezTo>
                    <a:pt x="1025938" y="3021542"/>
                    <a:pt x="961460" y="3086020"/>
                    <a:pt x="961460" y="3165558"/>
                  </a:cubicBezTo>
                  <a:cubicBezTo>
                    <a:pt x="961460" y="3245096"/>
                    <a:pt x="1025938" y="3309574"/>
                    <a:pt x="1105476" y="3309574"/>
                  </a:cubicBezTo>
                  <a:cubicBezTo>
                    <a:pt x="1185014" y="3309574"/>
                    <a:pt x="1249492" y="3245096"/>
                    <a:pt x="1249492" y="3165558"/>
                  </a:cubicBezTo>
                  <a:cubicBezTo>
                    <a:pt x="1249492" y="3086020"/>
                    <a:pt x="1185014" y="3021542"/>
                    <a:pt x="1105476" y="3021542"/>
                  </a:cubicBezTo>
                  <a:close/>
                  <a:moveTo>
                    <a:pt x="696333" y="3021542"/>
                  </a:moveTo>
                  <a:cubicBezTo>
                    <a:pt x="616795" y="3021542"/>
                    <a:pt x="552317" y="3086020"/>
                    <a:pt x="552317" y="3165558"/>
                  </a:cubicBezTo>
                  <a:cubicBezTo>
                    <a:pt x="552317" y="3245096"/>
                    <a:pt x="616795" y="3309574"/>
                    <a:pt x="696333" y="3309574"/>
                  </a:cubicBezTo>
                  <a:cubicBezTo>
                    <a:pt x="775871" y="3309574"/>
                    <a:pt x="840349" y="3245096"/>
                    <a:pt x="840349" y="3165558"/>
                  </a:cubicBezTo>
                  <a:cubicBezTo>
                    <a:pt x="840349" y="3086020"/>
                    <a:pt x="775871" y="3021542"/>
                    <a:pt x="696333" y="3021542"/>
                  </a:cubicBezTo>
                  <a:close/>
                  <a:moveTo>
                    <a:pt x="287190" y="3021542"/>
                  </a:moveTo>
                  <a:cubicBezTo>
                    <a:pt x="207652" y="3021542"/>
                    <a:pt x="143174" y="3086020"/>
                    <a:pt x="143174" y="3165558"/>
                  </a:cubicBezTo>
                  <a:cubicBezTo>
                    <a:pt x="143174" y="3245096"/>
                    <a:pt x="207652" y="3309574"/>
                    <a:pt x="287190" y="3309574"/>
                  </a:cubicBezTo>
                  <a:cubicBezTo>
                    <a:pt x="366728" y="3309574"/>
                    <a:pt x="431206" y="3245096"/>
                    <a:pt x="431206" y="3165558"/>
                  </a:cubicBezTo>
                  <a:cubicBezTo>
                    <a:pt x="431206" y="3086020"/>
                    <a:pt x="366728" y="3021542"/>
                    <a:pt x="287190" y="3021542"/>
                  </a:cubicBezTo>
                  <a:close/>
                  <a:moveTo>
                    <a:pt x="3968776" y="2606319"/>
                  </a:moveTo>
                  <a:cubicBezTo>
                    <a:pt x="3889238" y="2606319"/>
                    <a:pt x="3824760" y="2670797"/>
                    <a:pt x="3824760" y="2750335"/>
                  </a:cubicBezTo>
                  <a:cubicBezTo>
                    <a:pt x="3824760" y="2829873"/>
                    <a:pt x="3889238" y="2894351"/>
                    <a:pt x="3968776" y="2894351"/>
                  </a:cubicBezTo>
                  <a:cubicBezTo>
                    <a:pt x="4048314" y="2894351"/>
                    <a:pt x="4112792" y="2829873"/>
                    <a:pt x="4112792" y="2750335"/>
                  </a:cubicBezTo>
                  <a:cubicBezTo>
                    <a:pt x="4112792" y="2670797"/>
                    <a:pt x="4048314" y="2606319"/>
                    <a:pt x="3968776" y="2606319"/>
                  </a:cubicBezTo>
                  <a:close/>
                  <a:moveTo>
                    <a:pt x="3559634" y="2606319"/>
                  </a:moveTo>
                  <a:cubicBezTo>
                    <a:pt x="3480096" y="2606319"/>
                    <a:pt x="3415618" y="2670797"/>
                    <a:pt x="3415618" y="2750335"/>
                  </a:cubicBezTo>
                  <a:cubicBezTo>
                    <a:pt x="3415618" y="2829873"/>
                    <a:pt x="3480096" y="2894351"/>
                    <a:pt x="3559634" y="2894351"/>
                  </a:cubicBezTo>
                  <a:cubicBezTo>
                    <a:pt x="3639172" y="2894351"/>
                    <a:pt x="3703650" y="2829873"/>
                    <a:pt x="3703650" y="2750335"/>
                  </a:cubicBezTo>
                  <a:cubicBezTo>
                    <a:pt x="3703650" y="2670797"/>
                    <a:pt x="3639172" y="2606319"/>
                    <a:pt x="3559634" y="2606319"/>
                  </a:cubicBezTo>
                  <a:close/>
                  <a:moveTo>
                    <a:pt x="3150491" y="2606319"/>
                  </a:moveTo>
                  <a:cubicBezTo>
                    <a:pt x="3070953" y="2606319"/>
                    <a:pt x="3006475" y="2670797"/>
                    <a:pt x="3006475" y="2750335"/>
                  </a:cubicBezTo>
                  <a:cubicBezTo>
                    <a:pt x="3006475" y="2829873"/>
                    <a:pt x="3070953" y="2894351"/>
                    <a:pt x="3150491" y="2894351"/>
                  </a:cubicBezTo>
                  <a:cubicBezTo>
                    <a:pt x="3230029" y="2894351"/>
                    <a:pt x="3294507" y="2829873"/>
                    <a:pt x="3294507" y="2750335"/>
                  </a:cubicBezTo>
                  <a:cubicBezTo>
                    <a:pt x="3294507" y="2670797"/>
                    <a:pt x="3230029" y="2606319"/>
                    <a:pt x="3150491" y="2606319"/>
                  </a:cubicBezTo>
                  <a:close/>
                  <a:moveTo>
                    <a:pt x="2741348" y="2606319"/>
                  </a:moveTo>
                  <a:cubicBezTo>
                    <a:pt x="2661810" y="2606319"/>
                    <a:pt x="2597332" y="2670797"/>
                    <a:pt x="2597332" y="2750335"/>
                  </a:cubicBezTo>
                  <a:cubicBezTo>
                    <a:pt x="2597332" y="2829873"/>
                    <a:pt x="2661810" y="2894351"/>
                    <a:pt x="2741348" y="2894351"/>
                  </a:cubicBezTo>
                  <a:cubicBezTo>
                    <a:pt x="2820886" y="2894351"/>
                    <a:pt x="2885364" y="2829873"/>
                    <a:pt x="2885364" y="2750335"/>
                  </a:cubicBezTo>
                  <a:cubicBezTo>
                    <a:pt x="2885364" y="2670797"/>
                    <a:pt x="2820886" y="2606319"/>
                    <a:pt x="2741348" y="2606319"/>
                  </a:cubicBezTo>
                  <a:close/>
                  <a:moveTo>
                    <a:pt x="2332205" y="2606319"/>
                  </a:moveTo>
                  <a:cubicBezTo>
                    <a:pt x="2252667" y="2606319"/>
                    <a:pt x="2188189" y="2670797"/>
                    <a:pt x="2188189" y="2750335"/>
                  </a:cubicBezTo>
                  <a:cubicBezTo>
                    <a:pt x="2188189" y="2829873"/>
                    <a:pt x="2252667" y="2894351"/>
                    <a:pt x="2332205" y="2894351"/>
                  </a:cubicBezTo>
                  <a:cubicBezTo>
                    <a:pt x="2411743" y="2894351"/>
                    <a:pt x="2476221" y="2829873"/>
                    <a:pt x="2476221" y="2750335"/>
                  </a:cubicBezTo>
                  <a:cubicBezTo>
                    <a:pt x="2476221" y="2670797"/>
                    <a:pt x="2411743" y="2606319"/>
                    <a:pt x="2332205" y="2606319"/>
                  </a:cubicBezTo>
                  <a:close/>
                  <a:moveTo>
                    <a:pt x="1923062" y="2606319"/>
                  </a:moveTo>
                  <a:cubicBezTo>
                    <a:pt x="1843524" y="2606319"/>
                    <a:pt x="1779046" y="2670797"/>
                    <a:pt x="1779046" y="2750335"/>
                  </a:cubicBezTo>
                  <a:cubicBezTo>
                    <a:pt x="1779046" y="2829873"/>
                    <a:pt x="1843524" y="2894351"/>
                    <a:pt x="1923062" y="2894351"/>
                  </a:cubicBezTo>
                  <a:cubicBezTo>
                    <a:pt x="2002600" y="2894351"/>
                    <a:pt x="2067078" y="2829873"/>
                    <a:pt x="2067078" y="2750335"/>
                  </a:cubicBezTo>
                  <a:cubicBezTo>
                    <a:pt x="2067078" y="2670797"/>
                    <a:pt x="2002600" y="2606319"/>
                    <a:pt x="1923062" y="2606319"/>
                  </a:cubicBezTo>
                  <a:close/>
                  <a:moveTo>
                    <a:pt x="1513919" y="2606319"/>
                  </a:moveTo>
                  <a:cubicBezTo>
                    <a:pt x="1434381" y="2606319"/>
                    <a:pt x="1369903" y="2670797"/>
                    <a:pt x="1369903" y="2750335"/>
                  </a:cubicBezTo>
                  <a:cubicBezTo>
                    <a:pt x="1369903" y="2829873"/>
                    <a:pt x="1434381" y="2894351"/>
                    <a:pt x="1513919" y="2894351"/>
                  </a:cubicBezTo>
                  <a:cubicBezTo>
                    <a:pt x="1593457" y="2894351"/>
                    <a:pt x="1657935" y="2829873"/>
                    <a:pt x="1657935" y="2750335"/>
                  </a:cubicBezTo>
                  <a:cubicBezTo>
                    <a:pt x="1657935" y="2670797"/>
                    <a:pt x="1593457" y="2606319"/>
                    <a:pt x="1513919" y="2606319"/>
                  </a:cubicBezTo>
                  <a:close/>
                  <a:moveTo>
                    <a:pt x="1104776" y="2606319"/>
                  </a:moveTo>
                  <a:cubicBezTo>
                    <a:pt x="1025238" y="2606319"/>
                    <a:pt x="960760" y="2670797"/>
                    <a:pt x="960760" y="2750335"/>
                  </a:cubicBezTo>
                  <a:cubicBezTo>
                    <a:pt x="960760" y="2829873"/>
                    <a:pt x="1025238" y="2894351"/>
                    <a:pt x="1104776" y="2894351"/>
                  </a:cubicBezTo>
                  <a:cubicBezTo>
                    <a:pt x="1184314" y="2894351"/>
                    <a:pt x="1248792" y="2829873"/>
                    <a:pt x="1248792" y="2750335"/>
                  </a:cubicBezTo>
                  <a:cubicBezTo>
                    <a:pt x="1248792" y="2670797"/>
                    <a:pt x="1184314" y="2606319"/>
                    <a:pt x="1104776" y="2606319"/>
                  </a:cubicBezTo>
                  <a:close/>
                  <a:moveTo>
                    <a:pt x="695633" y="2606319"/>
                  </a:moveTo>
                  <a:cubicBezTo>
                    <a:pt x="616095" y="2606319"/>
                    <a:pt x="551617" y="2670797"/>
                    <a:pt x="551617" y="2750335"/>
                  </a:cubicBezTo>
                  <a:cubicBezTo>
                    <a:pt x="551617" y="2829873"/>
                    <a:pt x="616095" y="2894351"/>
                    <a:pt x="695633" y="2894351"/>
                  </a:cubicBezTo>
                  <a:cubicBezTo>
                    <a:pt x="775171" y="2894351"/>
                    <a:pt x="839649" y="2829873"/>
                    <a:pt x="839649" y="2750335"/>
                  </a:cubicBezTo>
                  <a:cubicBezTo>
                    <a:pt x="839649" y="2670797"/>
                    <a:pt x="775171" y="2606319"/>
                    <a:pt x="695633" y="2606319"/>
                  </a:cubicBezTo>
                  <a:close/>
                  <a:moveTo>
                    <a:pt x="286490" y="2606319"/>
                  </a:moveTo>
                  <a:cubicBezTo>
                    <a:pt x="206952" y="2606319"/>
                    <a:pt x="142474" y="2670797"/>
                    <a:pt x="142474" y="2750335"/>
                  </a:cubicBezTo>
                  <a:cubicBezTo>
                    <a:pt x="142474" y="2829873"/>
                    <a:pt x="206952" y="2894351"/>
                    <a:pt x="286490" y="2894351"/>
                  </a:cubicBezTo>
                  <a:cubicBezTo>
                    <a:pt x="366028" y="2894351"/>
                    <a:pt x="430506" y="2829873"/>
                    <a:pt x="430506" y="2750335"/>
                  </a:cubicBezTo>
                  <a:cubicBezTo>
                    <a:pt x="430506" y="2670797"/>
                    <a:pt x="366028" y="2606319"/>
                    <a:pt x="286490" y="2606319"/>
                  </a:cubicBezTo>
                  <a:close/>
                  <a:moveTo>
                    <a:pt x="3968076" y="2191096"/>
                  </a:moveTo>
                  <a:cubicBezTo>
                    <a:pt x="3888538" y="2191096"/>
                    <a:pt x="3824060" y="2255574"/>
                    <a:pt x="3824060" y="2335112"/>
                  </a:cubicBezTo>
                  <a:cubicBezTo>
                    <a:pt x="3824060" y="2414650"/>
                    <a:pt x="3888538" y="2479128"/>
                    <a:pt x="3968076" y="2479128"/>
                  </a:cubicBezTo>
                  <a:cubicBezTo>
                    <a:pt x="4047614" y="2479128"/>
                    <a:pt x="4112092" y="2414650"/>
                    <a:pt x="4112092" y="2335112"/>
                  </a:cubicBezTo>
                  <a:cubicBezTo>
                    <a:pt x="4112092" y="2255574"/>
                    <a:pt x="4047614" y="2191096"/>
                    <a:pt x="3968076" y="2191096"/>
                  </a:cubicBezTo>
                  <a:close/>
                  <a:moveTo>
                    <a:pt x="3558934" y="2191096"/>
                  </a:moveTo>
                  <a:cubicBezTo>
                    <a:pt x="3479396" y="2191096"/>
                    <a:pt x="3414918" y="2255574"/>
                    <a:pt x="3414918" y="2335112"/>
                  </a:cubicBezTo>
                  <a:cubicBezTo>
                    <a:pt x="3414918" y="2414650"/>
                    <a:pt x="3479396" y="2479128"/>
                    <a:pt x="3558934" y="2479128"/>
                  </a:cubicBezTo>
                  <a:cubicBezTo>
                    <a:pt x="3638472" y="2479128"/>
                    <a:pt x="3702950" y="2414650"/>
                    <a:pt x="3702950" y="2335112"/>
                  </a:cubicBezTo>
                  <a:cubicBezTo>
                    <a:pt x="3702950" y="2255574"/>
                    <a:pt x="3638472" y="2191096"/>
                    <a:pt x="3558934" y="2191096"/>
                  </a:cubicBezTo>
                  <a:close/>
                  <a:moveTo>
                    <a:pt x="3149791" y="2191096"/>
                  </a:moveTo>
                  <a:cubicBezTo>
                    <a:pt x="3070253" y="2191096"/>
                    <a:pt x="3005775" y="2255574"/>
                    <a:pt x="3005775" y="2335112"/>
                  </a:cubicBezTo>
                  <a:cubicBezTo>
                    <a:pt x="3005775" y="2414650"/>
                    <a:pt x="3070253" y="2479128"/>
                    <a:pt x="3149791" y="2479128"/>
                  </a:cubicBezTo>
                  <a:cubicBezTo>
                    <a:pt x="3229329" y="2479128"/>
                    <a:pt x="3293807" y="2414650"/>
                    <a:pt x="3293807" y="2335112"/>
                  </a:cubicBezTo>
                  <a:cubicBezTo>
                    <a:pt x="3293807" y="2255574"/>
                    <a:pt x="3229329" y="2191096"/>
                    <a:pt x="3149791" y="2191096"/>
                  </a:cubicBezTo>
                  <a:close/>
                  <a:moveTo>
                    <a:pt x="2740648" y="2191096"/>
                  </a:moveTo>
                  <a:cubicBezTo>
                    <a:pt x="2661110" y="2191096"/>
                    <a:pt x="2596632" y="2255574"/>
                    <a:pt x="2596632" y="2335112"/>
                  </a:cubicBezTo>
                  <a:cubicBezTo>
                    <a:pt x="2596632" y="2414650"/>
                    <a:pt x="2661110" y="2479128"/>
                    <a:pt x="2740648" y="2479128"/>
                  </a:cubicBezTo>
                  <a:cubicBezTo>
                    <a:pt x="2820186" y="2479128"/>
                    <a:pt x="2884664" y="2414650"/>
                    <a:pt x="2884664" y="2335112"/>
                  </a:cubicBezTo>
                  <a:cubicBezTo>
                    <a:pt x="2884664" y="2255574"/>
                    <a:pt x="2820186" y="2191096"/>
                    <a:pt x="2740648" y="2191096"/>
                  </a:cubicBezTo>
                  <a:close/>
                  <a:moveTo>
                    <a:pt x="2331505" y="2191096"/>
                  </a:moveTo>
                  <a:cubicBezTo>
                    <a:pt x="2251967" y="2191096"/>
                    <a:pt x="2187489" y="2255574"/>
                    <a:pt x="2187489" y="2335112"/>
                  </a:cubicBezTo>
                  <a:cubicBezTo>
                    <a:pt x="2187489" y="2414650"/>
                    <a:pt x="2251967" y="2479128"/>
                    <a:pt x="2331505" y="2479128"/>
                  </a:cubicBezTo>
                  <a:cubicBezTo>
                    <a:pt x="2411043" y="2479128"/>
                    <a:pt x="2475521" y="2414650"/>
                    <a:pt x="2475521" y="2335112"/>
                  </a:cubicBezTo>
                  <a:cubicBezTo>
                    <a:pt x="2475521" y="2255574"/>
                    <a:pt x="2411043" y="2191096"/>
                    <a:pt x="2331505" y="2191096"/>
                  </a:cubicBezTo>
                  <a:close/>
                  <a:moveTo>
                    <a:pt x="1922362" y="2191096"/>
                  </a:moveTo>
                  <a:cubicBezTo>
                    <a:pt x="1842824" y="2191096"/>
                    <a:pt x="1778346" y="2255574"/>
                    <a:pt x="1778346" y="2335112"/>
                  </a:cubicBezTo>
                  <a:cubicBezTo>
                    <a:pt x="1778346" y="2414650"/>
                    <a:pt x="1842824" y="2479128"/>
                    <a:pt x="1922362" y="2479128"/>
                  </a:cubicBezTo>
                  <a:cubicBezTo>
                    <a:pt x="2001900" y="2479128"/>
                    <a:pt x="2066378" y="2414650"/>
                    <a:pt x="2066378" y="2335112"/>
                  </a:cubicBezTo>
                  <a:cubicBezTo>
                    <a:pt x="2066378" y="2255574"/>
                    <a:pt x="2001900" y="2191096"/>
                    <a:pt x="1922362" y="2191096"/>
                  </a:cubicBezTo>
                  <a:close/>
                  <a:moveTo>
                    <a:pt x="1513219" y="2191096"/>
                  </a:moveTo>
                  <a:cubicBezTo>
                    <a:pt x="1433681" y="2191096"/>
                    <a:pt x="1369203" y="2255574"/>
                    <a:pt x="1369203" y="2335112"/>
                  </a:cubicBezTo>
                  <a:cubicBezTo>
                    <a:pt x="1369203" y="2414650"/>
                    <a:pt x="1433681" y="2479128"/>
                    <a:pt x="1513219" y="2479128"/>
                  </a:cubicBezTo>
                  <a:cubicBezTo>
                    <a:pt x="1592757" y="2479128"/>
                    <a:pt x="1657235" y="2414650"/>
                    <a:pt x="1657235" y="2335112"/>
                  </a:cubicBezTo>
                  <a:cubicBezTo>
                    <a:pt x="1657235" y="2255574"/>
                    <a:pt x="1592757" y="2191096"/>
                    <a:pt x="1513219" y="2191096"/>
                  </a:cubicBezTo>
                  <a:close/>
                  <a:moveTo>
                    <a:pt x="1104076" y="2191096"/>
                  </a:moveTo>
                  <a:cubicBezTo>
                    <a:pt x="1024538" y="2191096"/>
                    <a:pt x="960060" y="2255574"/>
                    <a:pt x="960060" y="2335112"/>
                  </a:cubicBezTo>
                  <a:cubicBezTo>
                    <a:pt x="960060" y="2414650"/>
                    <a:pt x="1024538" y="2479128"/>
                    <a:pt x="1104076" y="2479128"/>
                  </a:cubicBezTo>
                  <a:cubicBezTo>
                    <a:pt x="1183614" y="2479128"/>
                    <a:pt x="1248092" y="2414650"/>
                    <a:pt x="1248092" y="2335112"/>
                  </a:cubicBezTo>
                  <a:cubicBezTo>
                    <a:pt x="1248092" y="2255574"/>
                    <a:pt x="1183614" y="2191096"/>
                    <a:pt x="1104076" y="2191096"/>
                  </a:cubicBezTo>
                  <a:close/>
                  <a:moveTo>
                    <a:pt x="694933" y="2191096"/>
                  </a:moveTo>
                  <a:cubicBezTo>
                    <a:pt x="615395" y="2191096"/>
                    <a:pt x="550917" y="2255574"/>
                    <a:pt x="550917" y="2335112"/>
                  </a:cubicBezTo>
                  <a:cubicBezTo>
                    <a:pt x="550917" y="2414650"/>
                    <a:pt x="615395" y="2479128"/>
                    <a:pt x="694933" y="2479128"/>
                  </a:cubicBezTo>
                  <a:cubicBezTo>
                    <a:pt x="774471" y="2479128"/>
                    <a:pt x="838949" y="2414650"/>
                    <a:pt x="838949" y="2335112"/>
                  </a:cubicBezTo>
                  <a:cubicBezTo>
                    <a:pt x="838949" y="2255574"/>
                    <a:pt x="774471" y="2191096"/>
                    <a:pt x="694933" y="2191096"/>
                  </a:cubicBezTo>
                  <a:close/>
                  <a:moveTo>
                    <a:pt x="285790" y="2191096"/>
                  </a:moveTo>
                  <a:cubicBezTo>
                    <a:pt x="206252" y="2191096"/>
                    <a:pt x="141774" y="2255574"/>
                    <a:pt x="141774" y="2335112"/>
                  </a:cubicBezTo>
                  <a:cubicBezTo>
                    <a:pt x="141774" y="2414650"/>
                    <a:pt x="206252" y="2479128"/>
                    <a:pt x="285790" y="2479128"/>
                  </a:cubicBezTo>
                  <a:cubicBezTo>
                    <a:pt x="365328" y="2479128"/>
                    <a:pt x="429806" y="2414650"/>
                    <a:pt x="429806" y="2335112"/>
                  </a:cubicBezTo>
                  <a:cubicBezTo>
                    <a:pt x="429806" y="2255574"/>
                    <a:pt x="365328" y="2191096"/>
                    <a:pt x="285790" y="2191096"/>
                  </a:cubicBezTo>
                  <a:close/>
                  <a:moveTo>
                    <a:pt x="3967376" y="1775873"/>
                  </a:moveTo>
                  <a:cubicBezTo>
                    <a:pt x="3887838" y="1775873"/>
                    <a:pt x="3823360" y="1840351"/>
                    <a:pt x="3823360" y="1919889"/>
                  </a:cubicBezTo>
                  <a:cubicBezTo>
                    <a:pt x="3823360" y="1999427"/>
                    <a:pt x="3887838" y="2063905"/>
                    <a:pt x="3967376" y="2063905"/>
                  </a:cubicBezTo>
                  <a:cubicBezTo>
                    <a:pt x="4046914" y="2063905"/>
                    <a:pt x="4111392" y="1999427"/>
                    <a:pt x="4111392" y="1919889"/>
                  </a:cubicBezTo>
                  <a:cubicBezTo>
                    <a:pt x="4111392" y="1840351"/>
                    <a:pt x="4046914" y="1775873"/>
                    <a:pt x="3967376" y="1775873"/>
                  </a:cubicBezTo>
                  <a:close/>
                  <a:moveTo>
                    <a:pt x="3558234" y="1775873"/>
                  </a:moveTo>
                  <a:cubicBezTo>
                    <a:pt x="3478696" y="1775873"/>
                    <a:pt x="3414218" y="1840351"/>
                    <a:pt x="3414218" y="1919889"/>
                  </a:cubicBezTo>
                  <a:cubicBezTo>
                    <a:pt x="3414218" y="1999427"/>
                    <a:pt x="3478696" y="2063905"/>
                    <a:pt x="3558234" y="2063905"/>
                  </a:cubicBezTo>
                  <a:cubicBezTo>
                    <a:pt x="3637772" y="2063905"/>
                    <a:pt x="3702250" y="1999427"/>
                    <a:pt x="3702250" y="1919889"/>
                  </a:cubicBezTo>
                  <a:cubicBezTo>
                    <a:pt x="3702250" y="1840351"/>
                    <a:pt x="3637772" y="1775873"/>
                    <a:pt x="3558234" y="1775873"/>
                  </a:cubicBezTo>
                  <a:close/>
                  <a:moveTo>
                    <a:pt x="3149091" y="1775873"/>
                  </a:moveTo>
                  <a:cubicBezTo>
                    <a:pt x="3069553" y="1775873"/>
                    <a:pt x="3005075" y="1840351"/>
                    <a:pt x="3005075" y="1919889"/>
                  </a:cubicBezTo>
                  <a:cubicBezTo>
                    <a:pt x="3005075" y="1999427"/>
                    <a:pt x="3069553" y="2063905"/>
                    <a:pt x="3149091" y="2063905"/>
                  </a:cubicBezTo>
                  <a:cubicBezTo>
                    <a:pt x="3228629" y="2063905"/>
                    <a:pt x="3293107" y="1999427"/>
                    <a:pt x="3293107" y="1919889"/>
                  </a:cubicBezTo>
                  <a:cubicBezTo>
                    <a:pt x="3293107" y="1840351"/>
                    <a:pt x="3228629" y="1775873"/>
                    <a:pt x="3149091" y="1775873"/>
                  </a:cubicBezTo>
                  <a:close/>
                  <a:moveTo>
                    <a:pt x="2739948" y="1775873"/>
                  </a:moveTo>
                  <a:cubicBezTo>
                    <a:pt x="2660410" y="1775873"/>
                    <a:pt x="2595932" y="1840351"/>
                    <a:pt x="2595932" y="1919889"/>
                  </a:cubicBezTo>
                  <a:cubicBezTo>
                    <a:pt x="2595932" y="1999427"/>
                    <a:pt x="2660410" y="2063905"/>
                    <a:pt x="2739948" y="2063905"/>
                  </a:cubicBezTo>
                  <a:cubicBezTo>
                    <a:pt x="2819486" y="2063905"/>
                    <a:pt x="2883964" y="1999427"/>
                    <a:pt x="2883964" y="1919889"/>
                  </a:cubicBezTo>
                  <a:cubicBezTo>
                    <a:pt x="2883964" y="1840351"/>
                    <a:pt x="2819486" y="1775873"/>
                    <a:pt x="2739948" y="1775873"/>
                  </a:cubicBezTo>
                  <a:close/>
                  <a:moveTo>
                    <a:pt x="2330805" y="1775873"/>
                  </a:moveTo>
                  <a:cubicBezTo>
                    <a:pt x="2251267" y="1775873"/>
                    <a:pt x="2186789" y="1840351"/>
                    <a:pt x="2186789" y="1919889"/>
                  </a:cubicBezTo>
                  <a:cubicBezTo>
                    <a:pt x="2186789" y="1999427"/>
                    <a:pt x="2251267" y="2063905"/>
                    <a:pt x="2330805" y="2063905"/>
                  </a:cubicBezTo>
                  <a:cubicBezTo>
                    <a:pt x="2410343" y="2063905"/>
                    <a:pt x="2474821" y="1999427"/>
                    <a:pt x="2474821" y="1919889"/>
                  </a:cubicBezTo>
                  <a:cubicBezTo>
                    <a:pt x="2474821" y="1840351"/>
                    <a:pt x="2410343" y="1775873"/>
                    <a:pt x="2330805" y="1775873"/>
                  </a:cubicBezTo>
                  <a:close/>
                  <a:moveTo>
                    <a:pt x="1921662" y="1775873"/>
                  </a:moveTo>
                  <a:cubicBezTo>
                    <a:pt x="1842124" y="1775873"/>
                    <a:pt x="1777646" y="1840351"/>
                    <a:pt x="1777646" y="1919889"/>
                  </a:cubicBezTo>
                  <a:cubicBezTo>
                    <a:pt x="1777646" y="1999427"/>
                    <a:pt x="1842124" y="2063905"/>
                    <a:pt x="1921662" y="2063905"/>
                  </a:cubicBezTo>
                  <a:cubicBezTo>
                    <a:pt x="2001200" y="2063905"/>
                    <a:pt x="2065678" y="1999427"/>
                    <a:pt x="2065678" y="1919889"/>
                  </a:cubicBezTo>
                  <a:cubicBezTo>
                    <a:pt x="2065678" y="1840351"/>
                    <a:pt x="2001200" y="1775873"/>
                    <a:pt x="1921662" y="1775873"/>
                  </a:cubicBezTo>
                  <a:close/>
                  <a:moveTo>
                    <a:pt x="1512519" y="1775873"/>
                  </a:moveTo>
                  <a:cubicBezTo>
                    <a:pt x="1432981" y="1775873"/>
                    <a:pt x="1368503" y="1840351"/>
                    <a:pt x="1368503" y="1919889"/>
                  </a:cubicBezTo>
                  <a:cubicBezTo>
                    <a:pt x="1368503" y="1999427"/>
                    <a:pt x="1432981" y="2063905"/>
                    <a:pt x="1512519" y="2063905"/>
                  </a:cubicBezTo>
                  <a:cubicBezTo>
                    <a:pt x="1592057" y="2063905"/>
                    <a:pt x="1656535" y="1999427"/>
                    <a:pt x="1656535" y="1919889"/>
                  </a:cubicBezTo>
                  <a:cubicBezTo>
                    <a:pt x="1656535" y="1840351"/>
                    <a:pt x="1592057" y="1775873"/>
                    <a:pt x="1512519" y="1775873"/>
                  </a:cubicBezTo>
                  <a:close/>
                  <a:moveTo>
                    <a:pt x="1103376" y="1775873"/>
                  </a:moveTo>
                  <a:cubicBezTo>
                    <a:pt x="1023838" y="1775873"/>
                    <a:pt x="959360" y="1840351"/>
                    <a:pt x="959360" y="1919889"/>
                  </a:cubicBezTo>
                  <a:cubicBezTo>
                    <a:pt x="959360" y="1999427"/>
                    <a:pt x="1023838" y="2063905"/>
                    <a:pt x="1103376" y="2063905"/>
                  </a:cubicBezTo>
                  <a:cubicBezTo>
                    <a:pt x="1182914" y="2063905"/>
                    <a:pt x="1247392" y="1999427"/>
                    <a:pt x="1247392" y="1919889"/>
                  </a:cubicBezTo>
                  <a:cubicBezTo>
                    <a:pt x="1247392" y="1840351"/>
                    <a:pt x="1182914" y="1775873"/>
                    <a:pt x="1103376" y="1775873"/>
                  </a:cubicBezTo>
                  <a:close/>
                  <a:moveTo>
                    <a:pt x="694233" y="1775873"/>
                  </a:moveTo>
                  <a:cubicBezTo>
                    <a:pt x="614695" y="1775873"/>
                    <a:pt x="550217" y="1840351"/>
                    <a:pt x="550217" y="1919889"/>
                  </a:cubicBezTo>
                  <a:cubicBezTo>
                    <a:pt x="550217" y="1999427"/>
                    <a:pt x="614695" y="2063905"/>
                    <a:pt x="694233" y="2063905"/>
                  </a:cubicBezTo>
                  <a:cubicBezTo>
                    <a:pt x="773771" y="2063905"/>
                    <a:pt x="838249" y="1999427"/>
                    <a:pt x="838249" y="1919889"/>
                  </a:cubicBezTo>
                  <a:cubicBezTo>
                    <a:pt x="838249" y="1840351"/>
                    <a:pt x="773771" y="1775873"/>
                    <a:pt x="694233" y="1775873"/>
                  </a:cubicBezTo>
                  <a:close/>
                  <a:moveTo>
                    <a:pt x="285090" y="1775873"/>
                  </a:moveTo>
                  <a:cubicBezTo>
                    <a:pt x="205552" y="1775873"/>
                    <a:pt x="141074" y="1840351"/>
                    <a:pt x="141074" y="1919889"/>
                  </a:cubicBezTo>
                  <a:cubicBezTo>
                    <a:pt x="141074" y="1999427"/>
                    <a:pt x="205552" y="2063905"/>
                    <a:pt x="285090" y="2063905"/>
                  </a:cubicBezTo>
                  <a:cubicBezTo>
                    <a:pt x="364628" y="2063905"/>
                    <a:pt x="429106" y="1999427"/>
                    <a:pt x="429106" y="1919889"/>
                  </a:cubicBezTo>
                  <a:cubicBezTo>
                    <a:pt x="429106" y="1840351"/>
                    <a:pt x="364628" y="1775873"/>
                    <a:pt x="285090" y="1775873"/>
                  </a:cubicBezTo>
                  <a:close/>
                  <a:moveTo>
                    <a:pt x="3966676" y="1360650"/>
                  </a:moveTo>
                  <a:cubicBezTo>
                    <a:pt x="3887138" y="1360650"/>
                    <a:pt x="3822660" y="1425128"/>
                    <a:pt x="3822660" y="1504666"/>
                  </a:cubicBezTo>
                  <a:cubicBezTo>
                    <a:pt x="3822660" y="1584204"/>
                    <a:pt x="3887138" y="1648682"/>
                    <a:pt x="3966676" y="1648682"/>
                  </a:cubicBezTo>
                  <a:cubicBezTo>
                    <a:pt x="4046214" y="1648682"/>
                    <a:pt x="4110692" y="1584204"/>
                    <a:pt x="4110692" y="1504666"/>
                  </a:cubicBezTo>
                  <a:cubicBezTo>
                    <a:pt x="4110692" y="1425128"/>
                    <a:pt x="4046214" y="1360650"/>
                    <a:pt x="3966676" y="1360650"/>
                  </a:cubicBezTo>
                  <a:close/>
                  <a:moveTo>
                    <a:pt x="3557534" y="1360650"/>
                  </a:moveTo>
                  <a:cubicBezTo>
                    <a:pt x="3477996" y="1360650"/>
                    <a:pt x="3413518" y="1425128"/>
                    <a:pt x="3413518" y="1504666"/>
                  </a:cubicBezTo>
                  <a:cubicBezTo>
                    <a:pt x="3413518" y="1584204"/>
                    <a:pt x="3477996" y="1648682"/>
                    <a:pt x="3557534" y="1648682"/>
                  </a:cubicBezTo>
                  <a:cubicBezTo>
                    <a:pt x="3637072" y="1648682"/>
                    <a:pt x="3701550" y="1584204"/>
                    <a:pt x="3701550" y="1504666"/>
                  </a:cubicBezTo>
                  <a:cubicBezTo>
                    <a:pt x="3701550" y="1425128"/>
                    <a:pt x="3637072" y="1360650"/>
                    <a:pt x="3557534" y="1360650"/>
                  </a:cubicBezTo>
                  <a:close/>
                  <a:moveTo>
                    <a:pt x="3148391" y="1360650"/>
                  </a:moveTo>
                  <a:cubicBezTo>
                    <a:pt x="3068853" y="1360650"/>
                    <a:pt x="3004375" y="1425128"/>
                    <a:pt x="3004375" y="1504666"/>
                  </a:cubicBezTo>
                  <a:cubicBezTo>
                    <a:pt x="3004375" y="1584204"/>
                    <a:pt x="3068853" y="1648682"/>
                    <a:pt x="3148391" y="1648682"/>
                  </a:cubicBezTo>
                  <a:cubicBezTo>
                    <a:pt x="3227929" y="1648682"/>
                    <a:pt x="3292407" y="1584204"/>
                    <a:pt x="3292407" y="1504666"/>
                  </a:cubicBezTo>
                  <a:cubicBezTo>
                    <a:pt x="3292407" y="1425128"/>
                    <a:pt x="3227929" y="1360650"/>
                    <a:pt x="3148391" y="1360650"/>
                  </a:cubicBezTo>
                  <a:close/>
                  <a:moveTo>
                    <a:pt x="2739248" y="1360650"/>
                  </a:moveTo>
                  <a:cubicBezTo>
                    <a:pt x="2659710" y="1360650"/>
                    <a:pt x="2595232" y="1425128"/>
                    <a:pt x="2595232" y="1504666"/>
                  </a:cubicBezTo>
                  <a:cubicBezTo>
                    <a:pt x="2595232" y="1584204"/>
                    <a:pt x="2659710" y="1648682"/>
                    <a:pt x="2739248" y="1648682"/>
                  </a:cubicBezTo>
                  <a:cubicBezTo>
                    <a:pt x="2818786" y="1648682"/>
                    <a:pt x="2883264" y="1584204"/>
                    <a:pt x="2883264" y="1504666"/>
                  </a:cubicBezTo>
                  <a:cubicBezTo>
                    <a:pt x="2883264" y="1425128"/>
                    <a:pt x="2818786" y="1360650"/>
                    <a:pt x="2739248" y="1360650"/>
                  </a:cubicBezTo>
                  <a:close/>
                  <a:moveTo>
                    <a:pt x="2330105" y="1360650"/>
                  </a:moveTo>
                  <a:cubicBezTo>
                    <a:pt x="2250567" y="1360650"/>
                    <a:pt x="2186089" y="1425128"/>
                    <a:pt x="2186089" y="1504666"/>
                  </a:cubicBezTo>
                  <a:cubicBezTo>
                    <a:pt x="2186089" y="1584204"/>
                    <a:pt x="2250567" y="1648682"/>
                    <a:pt x="2330105" y="1648682"/>
                  </a:cubicBezTo>
                  <a:cubicBezTo>
                    <a:pt x="2409643" y="1648682"/>
                    <a:pt x="2474121" y="1584204"/>
                    <a:pt x="2474121" y="1504666"/>
                  </a:cubicBezTo>
                  <a:cubicBezTo>
                    <a:pt x="2474121" y="1425128"/>
                    <a:pt x="2409643" y="1360650"/>
                    <a:pt x="2330105" y="1360650"/>
                  </a:cubicBezTo>
                  <a:close/>
                  <a:moveTo>
                    <a:pt x="1920962" y="1360650"/>
                  </a:moveTo>
                  <a:cubicBezTo>
                    <a:pt x="1841424" y="1360650"/>
                    <a:pt x="1776946" y="1425128"/>
                    <a:pt x="1776946" y="1504666"/>
                  </a:cubicBezTo>
                  <a:cubicBezTo>
                    <a:pt x="1776946" y="1584204"/>
                    <a:pt x="1841424" y="1648682"/>
                    <a:pt x="1920962" y="1648682"/>
                  </a:cubicBezTo>
                  <a:cubicBezTo>
                    <a:pt x="2000500" y="1648682"/>
                    <a:pt x="2064978" y="1584204"/>
                    <a:pt x="2064978" y="1504666"/>
                  </a:cubicBezTo>
                  <a:cubicBezTo>
                    <a:pt x="2064978" y="1425128"/>
                    <a:pt x="2000500" y="1360650"/>
                    <a:pt x="1920962" y="1360650"/>
                  </a:cubicBezTo>
                  <a:close/>
                  <a:moveTo>
                    <a:pt x="1511819" y="1360650"/>
                  </a:moveTo>
                  <a:cubicBezTo>
                    <a:pt x="1432281" y="1360650"/>
                    <a:pt x="1367803" y="1425128"/>
                    <a:pt x="1367803" y="1504666"/>
                  </a:cubicBezTo>
                  <a:cubicBezTo>
                    <a:pt x="1367803" y="1584204"/>
                    <a:pt x="1432281" y="1648682"/>
                    <a:pt x="1511819" y="1648682"/>
                  </a:cubicBezTo>
                  <a:cubicBezTo>
                    <a:pt x="1591357" y="1648682"/>
                    <a:pt x="1655835" y="1584204"/>
                    <a:pt x="1655835" y="1504666"/>
                  </a:cubicBezTo>
                  <a:cubicBezTo>
                    <a:pt x="1655835" y="1425128"/>
                    <a:pt x="1591357" y="1360650"/>
                    <a:pt x="1511819" y="1360650"/>
                  </a:cubicBezTo>
                  <a:close/>
                  <a:moveTo>
                    <a:pt x="1102676" y="1360650"/>
                  </a:moveTo>
                  <a:cubicBezTo>
                    <a:pt x="1023138" y="1360650"/>
                    <a:pt x="958660" y="1425128"/>
                    <a:pt x="958660" y="1504666"/>
                  </a:cubicBezTo>
                  <a:cubicBezTo>
                    <a:pt x="958660" y="1584204"/>
                    <a:pt x="1023138" y="1648682"/>
                    <a:pt x="1102676" y="1648682"/>
                  </a:cubicBezTo>
                  <a:cubicBezTo>
                    <a:pt x="1182214" y="1648682"/>
                    <a:pt x="1246692" y="1584204"/>
                    <a:pt x="1246692" y="1504666"/>
                  </a:cubicBezTo>
                  <a:cubicBezTo>
                    <a:pt x="1246692" y="1425128"/>
                    <a:pt x="1182214" y="1360650"/>
                    <a:pt x="1102676" y="1360650"/>
                  </a:cubicBezTo>
                  <a:close/>
                  <a:moveTo>
                    <a:pt x="693533" y="1360650"/>
                  </a:moveTo>
                  <a:cubicBezTo>
                    <a:pt x="613995" y="1360650"/>
                    <a:pt x="549517" y="1425128"/>
                    <a:pt x="549517" y="1504666"/>
                  </a:cubicBezTo>
                  <a:cubicBezTo>
                    <a:pt x="549517" y="1584204"/>
                    <a:pt x="613995" y="1648682"/>
                    <a:pt x="693533" y="1648682"/>
                  </a:cubicBezTo>
                  <a:cubicBezTo>
                    <a:pt x="773071" y="1648682"/>
                    <a:pt x="837549" y="1584204"/>
                    <a:pt x="837549" y="1504666"/>
                  </a:cubicBezTo>
                  <a:cubicBezTo>
                    <a:pt x="837549" y="1425128"/>
                    <a:pt x="773071" y="1360650"/>
                    <a:pt x="693533" y="1360650"/>
                  </a:cubicBezTo>
                  <a:close/>
                  <a:moveTo>
                    <a:pt x="284390" y="1360650"/>
                  </a:moveTo>
                  <a:cubicBezTo>
                    <a:pt x="204852" y="1360650"/>
                    <a:pt x="140374" y="1425128"/>
                    <a:pt x="140374" y="1504666"/>
                  </a:cubicBezTo>
                  <a:cubicBezTo>
                    <a:pt x="140374" y="1584204"/>
                    <a:pt x="204852" y="1648682"/>
                    <a:pt x="284390" y="1648682"/>
                  </a:cubicBezTo>
                  <a:cubicBezTo>
                    <a:pt x="363928" y="1648682"/>
                    <a:pt x="428406" y="1584204"/>
                    <a:pt x="428406" y="1504666"/>
                  </a:cubicBezTo>
                  <a:cubicBezTo>
                    <a:pt x="428406" y="1425128"/>
                    <a:pt x="363928" y="1360650"/>
                    <a:pt x="284390" y="1360650"/>
                  </a:cubicBezTo>
                  <a:close/>
                  <a:moveTo>
                    <a:pt x="3965976" y="945427"/>
                  </a:moveTo>
                  <a:cubicBezTo>
                    <a:pt x="3886438" y="945427"/>
                    <a:pt x="3821960" y="1009905"/>
                    <a:pt x="3821960" y="1089443"/>
                  </a:cubicBezTo>
                  <a:cubicBezTo>
                    <a:pt x="3821960" y="1168981"/>
                    <a:pt x="3886438" y="1233459"/>
                    <a:pt x="3965976" y="1233459"/>
                  </a:cubicBezTo>
                  <a:cubicBezTo>
                    <a:pt x="4045514" y="1233459"/>
                    <a:pt x="4109992" y="1168981"/>
                    <a:pt x="4109992" y="1089443"/>
                  </a:cubicBezTo>
                  <a:cubicBezTo>
                    <a:pt x="4109992" y="1009905"/>
                    <a:pt x="4045514" y="945427"/>
                    <a:pt x="3965976" y="945427"/>
                  </a:cubicBezTo>
                  <a:close/>
                  <a:moveTo>
                    <a:pt x="3556834" y="945427"/>
                  </a:moveTo>
                  <a:cubicBezTo>
                    <a:pt x="3477296" y="945427"/>
                    <a:pt x="3412818" y="1009905"/>
                    <a:pt x="3412818" y="1089443"/>
                  </a:cubicBezTo>
                  <a:cubicBezTo>
                    <a:pt x="3412818" y="1168981"/>
                    <a:pt x="3477296" y="1233459"/>
                    <a:pt x="3556834" y="1233459"/>
                  </a:cubicBezTo>
                  <a:cubicBezTo>
                    <a:pt x="3636372" y="1233459"/>
                    <a:pt x="3700850" y="1168981"/>
                    <a:pt x="3700850" y="1089443"/>
                  </a:cubicBezTo>
                  <a:cubicBezTo>
                    <a:pt x="3700850" y="1009905"/>
                    <a:pt x="3636372" y="945427"/>
                    <a:pt x="3556834" y="945427"/>
                  </a:cubicBezTo>
                  <a:close/>
                  <a:moveTo>
                    <a:pt x="3147691" y="945427"/>
                  </a:moveTo>
                  <a:cubicBezTo>
                    <a:pt x="3068153" y="945427"/>
                    <a:pt x="3003675" y="1009905"/>
                    <a:pt x="3003675" y="1089443"/>
                  </a:cubicBezTo>
                  <a:cubicBezTo>
                    <a:pt x="3003675" y="1168981"/>
                    <a:pt x="3068153" y="1233459"/>
                    <a:pt x="3147691" y="1233459"/>
                  </a:cubicBezTo>
                  <a:cubicBezTo>
                    <a:pt x="3227229" y="1233459"/>
                    <a:pt x="3291707" y="1168981"/>
                    <a:pt x="3291707" y="1089443"/>
                  </a:cubicBezTo>
                  <a:cubicBezTo>
                    <a:pt x="3291707" y="1009905"/>
                    <a:pt x="3227229" y="945427"/>
                    <a:pt x="3147691" y="945427"/>
                  </a:cubicBezTo>
                  <a:close/>
                  <a:moveTo>
                    <a:pt x="2738548" y="945427"/>
                  </a:moveTo>
                  <a:cubicBezTo>
                    <a:pt x="2659010" y="945427"/>
                    <a:pt x="2594532" y="1009905"/>
                    <a:pt x="2594532" y="1089443"/>
                  </a:cubicBezTo>
                  <a:cubicBezTo>
                    <a:pt x="2594532" y="1168981"/>
                    <a:pt x="2659010" y="1233459"/>
                    <a:pt x="2738548" y="1233459"/>
                  </a:cubicBezTo>
                  <a:cubicBezTo>
                    <a:pt x="2818086" y="1233459"/>
                    <a:pt x="2882564" y="1168981"/>
                    <a:pt x="2882564" y="1089443"/>
                  </a:cubicBezTo>
                  <a:cubicBezTo>
                    <a:pt x="2882564" y="1009905"/>
                    <a:pt x="2818086" y="945427"/>
                    <a:pt x="2738548" y="945427"/>
                  </a:cubicBezTo>
                  <a:close/>
                  <a:moveTo>
                    <a:pt x="2329405" y="945427"/>
                  </a:moveTo>
                  <a:cubicBezTo>
                    <a:pt x="2249867" y="945427"/>
                    <a:pt x="2185389" y="1009905"/>
                    <a:pt x="2185389" y="1089443"/>
                  </a:cubicBezTo>
                  <a:cubicBezTo>
                    <a:pt x="2185389" y="1168981"/>
                    <a:pt x="2249867" y="1233459"/>
                    <a:pt x="2329405" y="1233459"/>
                  </a:cubicBezTo>
                  <a:cubicBezTo>
                    <a:pt x="2408943" y="1233459"/>
                    <a:pt x="2473421" y="1168981"/>
                    <a:pt x="2473421" y="1089443"/>
                  </a:cubicBezTo>
                  <a:cubicBezTo>
                    <a:pt x="2473421" y="1009905"/>
                    <a:pt x="2408943" y="945427"/>
                    <a:pt x="2329405" y="945427"/>
                  </a:cubicBezTo>
                  <a:close/>
                  <a:moveTo>
                    <a:pt x="1920262" y="945427"/>
                  </a:moveTo>
                  <a:cubicBezTo>
                    <a:pt x="1840724" y="945427"/>
                    <a:pt x="1776246" y="1009905"/>
                    <a:pt x="1776246" y="1089443"/>
                  </a:cubicBezTo>
                  <a:cubicBezTo>
                    <a:pt x="1776246" y="1168981"/>
                    <a:pt x="1840724" y="1233459"/>
                    <a:pt x="1920262" y="1233459"/>
                  </a:cubicBezTo>
                  <a:cubicBezTo>
                    <a:pt x="1999800" y="1233459"/>
                    <a:pt x="2064278" y="1168981"/>
                    <a:pt x="2064278" y="1089443"/>
                  </a:cubicBezTo>
                  <a:cubicBezTo>
                    <a:pt x="2064278" y="1009905"/>
                    <a:pt x="1999800" y="945427"/>
                    <a:pt x="1920262" y="945427"/>
                  </a:cubicBezTo>
                  <a:close/>
                  <a:moveTo>
                    <a:pt x="1511119" y="945427"/>
                  </a:moveTo>
                  <a:cubicBezTo>
                    <a:pt x="1431581" y="945427"/>
                    <a:pt x="1367103" y="1009905"/>
                    <a:pt x="1367103" y="1089443"/>
                  </a:cubicBezTo>
                  <a:cubicBezTo>
                    <a:pt x="1367103" y="1168981"/>
                    <a:pt x="1431581" y="1233459"/>
                    <a:pt x="1511119" y="1233459"/>
                  </a:cubicBezTo>
                  <a:cubicBezTo>
                    <a:pt x="1590657" y="1233459"/>
                    <a:pt x="1655135" y="1168981"/>
                    <a:pt x="1655135" y="1089443"/>
                  </a:cubicBezTo>
                  <a:cubicBezTo>
                    <a:pt x="1655135" y="1009905"/>
                    <a:pt x="1590657" y="945427"/>
                    <a:pt x="1511119" y="945427"/>
                  </a:cubicBezTo>
                  <a:close/>
                  <a:moveTo>
                    <a:pt x="1101976" y="945427"/>
                  </a:moveTo>
                  <a:cubicBezTo>
                    <a:pt x="1022438" y="945427"/>
                    <a:pt x="957960" y="1009905"/>
                    <a:pt x="957960" y="1089443"/>
                  </a:cubicBezTo>
                  <a:cubicBezTo>
                    <a:pt x="957960" y="1168981"/>
                    <a:pt x="1022438" y="1233459"/>
                    <a:pt x="1101976" y="1233459"/>
                  </a:cubicBezTo>
                  <a:cubicBezTo>
                    <a:pt x="1181514" y="1233459"/>
                    <a:pt x="1245992" y="1168981"/>
                    <a:pt x="1245992" y="1089443"/>
                  </a:cubicBezTo>
                  <a:cubicBezTo>
                    <a:pt x="1245992" y="1009905"/>
                    <a:pt x="1181514" y="945427"/>
                    <a:pt x="1101976" y="945427"/>
                  </a:cubicBezTo>
                  <a:close/>
                  <a:moveTo>
                    <a:pt x="692833" y="945427"/>
                  </a:moveTo>
                  <a:cubicBezTo>
                    <a:pt x="613295" y="945427"/>
                    <a:pt x="548817" y="1009905"/>
                    <a:pt x="548817" y="1089443"/>
                  </a:cubicBezTo>
                  <a:cubicBezTo>
                    <a:pt x="548817" y="1168981"/>
                    <a:pt x="613295" y="1233459"/>
                    <a:pt x="692833" y="1233459"/>
                  </a:cubicBezTo>
                  <a:cubicBezTo>
                    <a:pt x="772371" y="1233459"/>
                    <a:pt x="836849" y="1168981"/>
                    <a:pt x="836849" y="1089443"/>
                  </a:cubicBezTo>
                  <a:cubicBezTo>
                    <a:pt x="836849" y="1009905"/>
                    <a:pt x="772371" y="945427"/>
                    <a:pt x="692833" y="945427"/>
                  </a:cubicBezTo>
                  <a:close/>
                  <a:moveTo>
                    <a:pt x="283690" y="945427"/>
                  </a:moveTo>
                  <a:cubicBezTo>
                    <a:pt x="204152" y="945427"/>
                    <a:pt x="139674" y="1009905"/>
                    <a:pt x="139674" y="1089443"/>
                  </a:cubicBezTo>
                  <a:cubicBezTo>
                    <a:pt x="139674" y="1168981"/>
                    <a:pt x="204152" y="1233459"/>
                    <a:pt x="283690" y="1233459"/>
                  </a:cubicBezTo>
                  <a:cubicBezTo>
                    <a:pt x="363228" y="1233459"/>
                    <a:pt x="427706" y="1168981"/>
                    <a:pt x="427706" y="1089443"/>
                  </a:cubicBezTo>
                  <a:cubicBezTo>
                    <a:pt x="427706" y="1009905"/>
                    <a:pt x="363228" y="945427"/>
                    <a:pt x="283690" y="945427"/>
                  </a:cubicBezTo>
                  <a:close/>
                  <a:moveTo>
                    <a:pt x="3965276" y="530204"/>
                  </a:moveTo>
                  <a:cubicBezTo>
                    <a:pt x="3885738" y="530204"/>
                    <a:pt x="3821260" y="594682"/>
                    <a:pt x="3821260" y="674220"/>
                  </a:cubicBezTo>
                  <a:cubicBezTo>
                    <a:pt x="3821260" y="753758"/>
                    <a:pt x="3885738" y="818236"/>
                    <a:pt x="3965276" y="818236"/>
                  </a:cubicBezTo>
                  <a:cubicBezTo>
                    <a:pt x="4044814" y="818236"/>
                    <a:pt x="4109292" y="753758"/>
                    <a:pt x="4109292" y="674220"/>
                  </a:cubicBezTo>
                  <a:cubicBezTo>
                    <a:pt x="4109292" y="594682"/>
                    <a:pt x="4044814" y="530204"/>
                    <a:pt x="3965276" y="530204"/>
                  </a:cubicBezTo>
                  <a:close/>
                  <a:moveTo>
                    <a:pt x="3556134" y="530204"/>
                  </a:moveTo>
                  <a:cubicBezTo>
                    <a:pt x="3476596" y="530204"/>
                    <a:pt x="3412118" y="594682"/>
                    <a:pt x="3412118" y="674220"/>
                  </a:cubicBezTo>
                  <a:cubicBezTo>
                    <a:pt x="3412118" y="753758"/>
                    <a:pt x="3476596" y="818236"/>
                    <a:pt x="3556134" y="818236"/>
                  </a:cubicBezTo>
                  <a:cubicBezTo>
                    <a:pt x="3635672" y="818236"/>
                    <a:pt x="3700150" y="753758"/>
                    <a:pt x="3700150" y="674220"/>
                  </a:cubicBezTo>
                  <a:cubicBezTo>
                    <a:pt x="3700150" y="594682"/>
                    <a:pt x="3635672" y="530204"/>
                    <a:pt x="3556134" y="530204"/>
                  </a:cubicBezTo>
                  <a:close/>
                  <a:moveTo>
                    <a:pt x="3146991" y="530204"/>
                  </a:moveTo>
                  <a:cubicBezTo>
                    <a:pt x="3067453" y="530204"/>
                    <a:pt x="3002975" y="594682"/>
                    <a:pt x="3002975" y="674220"/>
                  </a:cubicBezTo>
                  <a:cubicBezTo>
                    <a:pt x="3002975" y="753758"/>
                    <a:pt x="3067453" y="818236"/>
                    <a:pt x="3146991" y="818236"/>
                  </a:cubicBezTo>
                  <a:cubicBezTo>
                    <a:pt x="3226529" y="818236"/>
                    <a:pt x="3291007" y="753758"/>
                    <a:pt x="3291007" y="674220"/>
                  </a:cubicBezTo>
                  <a:cubicBezTo>
                    <a:pt x="3291007" y="594682"/>
                    <a:pt x="3226529" y="530204"/>
                    <a:pt x="3146991" y="530204"/>
                  </a:cubicBezTo>
                  <a:close/>
                  <a:moveTo>
                    <a:pt x="2737848" y="530204"/>
                  </a:moveTo>
                  <a:cubicBezTo>
                    <a:pt x="2658310" y="530204"/>
                    <a:pt x="2593832" y="594682"/>
                    <a:pt x="2593832" y="674220"/>
                  </a:cubicBezTo>
                  <a:cubicBezTo>
                    <a:pt x="2593832" y="753758"/>
                    <a:pt x="2658310" y="818236"/>
                    <a:pt x="2737848" y="818236"/>
                  </a:cubicBezTo>
                  <a:cubicBezTo>
                    <a:pt x="2817386" y="818236"/>
                    <a:pt x="2881864" y="753758"/>
                    <a:pt x="2881864" y="674220"/>
                  </a:cubicBezTo>
                  <a:cubicBezTo>
                    <a:pt x="2881864" y="594682"/>
                    <a:pt x="2817386" y="530204"/>
                    <a:pt x="2737848" y="530204"/>
                  </a:cubicBezTo>
                  <a:close/>
                  <a:moveTo>
                    <a:pt x="2328705" y="530204"/>
                  </a:moveTo>
                  <a:cubicBezTo>
                    <a:pt x="2249167" y="530204"/>
                    <a:pt x="2184689" y="594682"/>
                    <a:pt x="2184689" y="674220"/>
                  </a:cubicBezTo>
                  <a:cubicBezTo>
                    <a:pt x="2184689" y="753758"/>
                    <a:pt x="2249167" y="818236"/>
                    <a:pt x="2328705" y="818236"/>
                  </a:cubicBezTo>
                  <a:cubicBezTo>
                    <a:pt x="2408243" y="818236"/>
                    <a:pt x="2472721" y="753758"/>
                    <a:pt x="2472721" y="674220"/>
                  </a:cubicBezTo>
                  <a:cubicBezTo>
                    <a:pt x="2472721" y="594682"/>
                    <a:pt x="2408243" y="530204"/>
                    <a:pt x="2328705" y="530204"/>
                  </a:cubicBezTo>
                  <a:close/>
                  <a:moveTo>
                    <a:pt x="1919562" y="530204"/>
                  </a:moveTo>
                  <a:cubicBezTo>
                    <a:pt x="1840024" y="530204"/>
                    <a:pt x="1775546" y="594682"/>
                    <a:pt x="1775546" y="674220"/>
                  </a:cubicBezTo>
                  <a:cubicBezTo>
                    <a:pt x="1775546" y="753758"/>
                    <a:pt x="1840024" y="818236"/>
                    <a:pt x="1919562" y="818236"/>
                  </a:cubicBezTo>
                  <a:cubicBezTo>
                    <a:pt x="1999100" y="818236"/>
                    <a:pt x="2063578" y="753758"/>
                    <a:pt x="2063578" y="674220"/>
                  </a:cubicBezTo>
                  <a:cubicBezTo>
                    <a:pt x="2063578" y="594682"/>
                    <a:pt x="1999100" y="530204"/>
                    <a:pt x="1919562" y="530204"/>
                  </a:cubicBezTo>
                  <a:close/>
                  <a:moveTo>
                    <a:pt x="1510419" y="530204"/>
                  </a:moveTo>
                  <a:cubicBezTo>
                    <a:pt x="1430881" y="530204"/>
                    <a:pt x="1366403" y="594682"/>
                    <a:pt x="1366403" y="674220"/>
                  </a:cubicBezTo>
                  <a:cubicBezTo>
                    <a:pt x="1366403" y="753758"/>
                    <a:pt x="1430881" y="818236"/>
                    <a:pt x="1510419" y="818236"/>
                  </a:cubicBezTo>
                  <a:cubicBezTo>
                    <a:pt x="1589957" y="818236"/>
                    <a:pt x="1654435" y="753758"/>
                    <a:pt x="1654435" y="674220"/>
                  </a:cubicBezTo>
                  <a:cubicBezTo>
                    <a:pt x="1654435" y="594682"/>
                    <a:pt x="1589957" y="530204"/>
                    <a:pt x="1510419" y="530204"/>
                  </a:cubicBezTo>
                  <a:close/>
                  <a:moveTo>
                    <a:pt x="1101276" y="530204"/>
                  </a:moveTo>
                  <a:cubicBezTo>
                    <a:pt x="1021738" y="530204"/>
                    <a:pt x="957260" y="594682"/>
                    <a:pt x="957260" y="674220"/>
                  </a:cubicBezTo>
                  <a:cubicBezTo>
                    <a:pt x="957260" y="753758"/>
                    <a:pt x="1021738" y="818236"/>
                    <a:pt x="1101276" y="818236"/>
                  </a:cubicBezTo>
                  <a:cubicBezTo>
                    <a:pt x="1180814" y="818236"/>
                    <a:pt x="1245292" y="753758"/>
                    <a:pt x="1245292" y="674220"/>
                  </a:cubicBezTo>
                  <a:cubicBezTo>
                    <a:pt x="1245292" y="594682"/>
                    <a:pt x="1180814" y="530204"/>
                    <a:pt x="1101276" y="530204"/>
                  </a:cubicBezTo>
                  <a:close/>
                  <a:moveTo>
                    <a:pt x="692133" y="530204"/>
                  </a:moveTo>
                  <a:cubicBezTo>
                    <a:pt x="612595" y="530204"/>
                    <a:pt x="548117" y="594682"/>
                    <a:pt x="548117" y="674220"/>
                  </a:cubicBezTo>
                  <a:cubicBezTo>
                    <a:pt x="548117" y="753758"/>
                    <a:pt x="612595" y="818236"/>
                    <a:pt x="692133" y="818236"/>
                  </a:cubicBezTo>
                  <a:cubicBezTo>
                    <a:pt x="771671" y="818236"/>
                    <a:pt x="836149" y="753758"/>
                    <a:pt x="836149" y="674220"/>
                  </a:cubicBezTo>
                  <a:cubicBezTo>
                    <a:pt x="836149" y="594682"/>
                    <a:pt x="771671" y="530204"/>
                    <a:pt x="692133" y="530204"/>
                  </a:cubicBezTo>
                  <a:close/>
                  <a:moveTo>
                    <a:pt x="282990" y="530204"/>
                  </a:moveTo>
                  <a:cubicBezTo>
                    <a:pt x="203452" y="530204"/>
                    <a:pt x="138974" y="594682"/>
                    <a:pt x="138974" y="674220"/>
                  </a:cubicBezTo>
                  <a:cubicBezTo>
                    <a:pt x="138974" y="753758"/>
                    <a:pt x="203452" y="818236"/>
                    <a:pt x="282990" y="818236"/>
                  </a:cubicBezTo>
                  <a:cubicBezTo>
                    <a:pt x="362528" y="818236"/>
                    <a:pt x="427006" y="753758"/>
                    <a:pt x="427006" y="674220"/>
                  </a:cubicBezTo>
                  <a:cubicBezTo>
                    <a:pt x="427006" y="594682"/>
                    <a:pt x="362528" y="530204"/>
                    <a:pt x="282990" y="530204"/>
                  </a:cubicBezTo>
                  <a:close/>
                  <a:moveTo>
                    <a:pt x="3964576" y="114981"/>
                  </a:moveTo>
                  <a:cubicBezTo>
                    <a:pt x="3885038" y="114981"/>
                    <a:pt x="3820560" y="179459"/>
                    <a:pt x="3820560" y="258997"/>
                  </a:cubicBezTo>
                  <a:cubicBezTo>
                    <a:pt x="3820560" y="338535"/>
                    <a:pt x="3885038" y="403013"/>
                    <a:pt x="3964576" y="403013"/>
                  </a:cubicBezTo>
                  <a:cubicBezTo>
                    <a:pt x="4044114" y="403013"/>
                    <a:pt x="4108592" y="338535"/>
                    <a:pt x="4108592" y="258997"/>
                  </a:cubicBezTo>
                  <a:cubicBezTo>
                    <a:pt x="4108592" y="179459"/>
                    <a:pt x="4044114" y="114981"/>
                    <a:pt x="3964576" y="114981"/>
                  </a:cubicBezTo>
                  <a:close/>
                  <a:moveTo>
                    <a:pt x="3555434" y="114981"/>
                  </a:moveTo>
                  <a:cubicBezTo>
                    <a:pt x="3475896" y="114981"/>
                    <a:pt x="3411418" y="179459"/>
                    <a:pt x="3411418" y="258997"/>
                  </a:cubicBezTo>
                  <a:cubicBezTo>
                    <a:pt x="3411418" y="338535"/>
                    <a:pt x="3475896" y="403013"/>
                    <a:pt x="3555434" y="403013"/>
                  </a:cubicBezTo>
                  <a:cubicBezTo>
                    <a:pt x="3634972" y="403013"/>
                    <a:pt x="3699450" y="338535"/>
                    <a:pt x="3699450" y="258997"/>
                  </a:cubicBezTo>
                  <a:cubicBezTo>
                    <a:pt x="3699450" y="179459"/>
                    <a:pt x="3634972" y="114981"/>
                    <a:pt x="3555434" y="114981"/>
                  </a:cubicBezTo>
                  <a:close/>
                  <a:moveTo>
                    <a:pt x="3146291" y="114981"/>
                  </a:moveTo>
                  <a:cubicBezTo>
                    <a:pt x="3066753" y="114981"/>
                    <a:pt x="3002275" y="179459"/>
                    <a:pt x="3002275" y="258997"/>
                  </a:cubicBezTo>
                  <a:cubicBezTo>
                    <a:pt x="3002275" y="338535"/>
                    <a:pt x="3066753" y="403013"/>
                    <a:pt x="3146291" y="403013"/>
                  </a:cubicBezTo>
                  <a:cubicBezTo>
                    <a:pt x="3225829" y="403013"/>
                    <a:pt x="3290307" y="338535"/>
                    <a:pt x="3290307" y="258997"/>
                  </a:cubicBezTo>
                  <a:cubicBezTo>
                    <a:pt x="3290307" y="179459"/>
                    <a:pt x="3225829" y="114981"/>
                    <a:pt x="3146291" y="114981"/>
                  </a:cubicBezTo>
                  <a:close/>
                  <a:moveTo>
                    <a:pt x="2737148" y="114981"/>
                  </a:moveTo>
                  <a:cubicBezTo>
                    <a:pt x="2657610" y="114981"/>
                    <a:pt x="2593132" y="179459"/>
                    <a:pt x="2593132" y="258997"/>
                  </a:cubicBezTo>
                  <a:cubicBezTo>
                    <a:pt x="2593132" y="338535"/>
                    <a:pt x="2657610" y="403013"/>
                    <a:pt x="2737148" y="403013"/>
                  </a:cubicBezTo>
                  <a:cubicBezTo>
                    <a:pt x="2816686" y="403013"/>
                    <a:pt x="2881164" y="338535"/>
                    <a:pt x="2881164" y="258997"/>
                  </a:cubicBezTo>
                  <a:cubicBezTo>
                    <a:pt x="2881164" y="179459"/>
                    <a:pt x="2816686" y="114981"/>
                    <a:pt x="2737148" y="114981"/>
                  </a:cubicBezTo>
                  <a:close/>
                  <a:moveTo>
                    <a:pt x="2328005" y="114981"/>
                  </a:moveTo>
                  <a:cubicBezTo>
                    <a:pt x="2248467" y="114981"/>
                    <a:pt x="2183989" y="179459"/>
                    <a:pt x="2183989" y="258997"/>
                  </a:cubicBezTo>
                  <a:cubicBezTo>
                    <a:pt x="2183989" y="338535"/>
                    <a:pt x="2248467" y="403013"/>
                    <a:pt x="2328005" y="403013"/>
                  </a:cubicBezTo>
                  <a:cubicBezTo>
                    <a:pt x="2407543" y="403013"/>
                    <a:pt x="2472021" y="338535"/>
                    <a:pt x="2472021" y="258997"/>
                  </a:cubicBezTo>
                  <a:cubicBezTo>
                    <a:pt x="2472021" y="179459"/>
                    <a:pt x="2407543" y="114981"/>
                    <a:pt x="2328005" y="114981"/>
                  </a:cubicBezTo>
                  <a:close/>
                  <a:moveTo>
                    <a:pt x="1918862" y="114981"/>
                  </a:moveTo>
                  <a:cubicBezTo>
                    <a:pt x="1839324" y="114981"/>
                    <a:pt x="1774846" y="179459"/>
                    <a:pt x="1774846" y="258997"/>
                  </a:cubicBezTo>
                  <a:cubicBezTo>
                    <a:pt x="1774846" y="338535"/>
                    <a:pt x="1839324" y="403013"/>
                    <a:pt x="1918862" y="403013"/>
                  </a:cubicBezTo>
                  <a:cubicBezTo>
                    <a:pt x="1998400" y="403013"/>
                    <a:pt x="2062878" y="338535"/>
                    <a:pt x="2062878" y="258997"/>
                  </a:cubicBezTo>
                  <a:cubicBezTo>
                    <a:pt x="2062878" y="179459"/>
                    <a:pt x="1998400" y="114981"/>
                    <a:pt x="1918862" y="114981"/>
                  </a:cubicBezTo>
                  <a:close/>
                  <a:moveTo>
                    <a:pt x="1509719" y="114981"/>
                  </a:moveTo>
                  <a:cubicBezTo>
                    <a:pt x="1430181" y="114981"/>
                    <a:pt x="1365703" y="179459"/>
                    <a:pt x="1365703" y="258997"/>
                  </a:cubicBezTo>
                  <a:cubicBezTo>
                    <a:pt x="1365703" y="338535"/>
                    <a:pt x="1430181" y="403013"/>
                    <a:pt x="1509719" y="403013"/>
                  </a:cubicBezTo>
                  <a:cubicBezTo>
                    <a:pt x="1589257" y="403013"/>
                    <a:pt x="1653735" y="338535"/>
                    <a:pt x="1653735" y="258997"/>
                  </a:cubicBezTo>
                  <a:cubicBezTo>
                    <a:pt x="1653735" y="179459"/>
                    <a:pt x="1589257" y="114981"/>
                    <a:pt x="1509719" y="114981"/>
                  </a:cubicBezTo>
                  <a:close/>
                  <a:moveTo>
                    <a:pt x="1100576" y="114981"/>
                  </a:moveTo>
                  <a:cubicBezTo>
                    <a:pt x="1021038" y="114981"/>
                    <a:pt x="956560" y="179459"/>
                    <a:pt x="956560" y="258997"/>
                  </a:cubicBezTo>
                  <a:cubicBezTo>
                    <a:pt x="956560" y="338535"/>
                    <a:pt x="1021038" y="403013"/>
                    <a:pt x="1100576" y="403013"/>
                  </a:cubicBezTo>
                  <a:cubicBezTo>
                    <a:pt x="1180114" y="403013"/>
                    <a:pt x="1244592" y="338535"/>
                    <a:pt x="1244592" y="258997"/>
                  </a:cubicBezTo>
                  <a:cubicBezTo>
                    <a:pt x="1244592" y="179459"/>
                    <a:pt x="1180114" y="114981"/>
                    <a:pt x="1100576" y="114981"/>
                  </a:cubicBezTo>
                  <a:close/>
                  <a:moveTo>
                    <a:pt x="691433" y="114981"/>
                  </a:moveTo>
                  <a:cubicBezTo>
                    <a:pt x="611895" y="114981"/>
                    <a:pt x="547417" y="179459"/>
                    <a:pt x="547417" y="258997"/>
                  </a:cubicBezTo>
                  <a:cubicBezTo>
                    <a:pt x="547417" y="338535"/>
                    <a:pt x="611895" y="403013"/>
                    <a:pt x="691433" y="403013"/>
                  </a:cubicBezTo>
                  <a:cubicBezTo>
                    <a:pt x="770971" y="403013"/>
                    <a:pt x="835449" y="338535"/>
                    <a:pt x="835449" y="258997"/>
                  </a:cubicBezTo>
                  <a:cubicBezTo>
                    <a:pt x="835449" y="179459"/>
                    <a:pt x="770971" y="114981"/>
                    <a:pt x="691433" y="114981"/>
                  </a:cubicBezTo>
                  <a:close/>
                  <a:moveTo>
                    <a:pt x="282290" y="114981"/>
                  </a:moveTo>
                  <a:cubicBezTo>
                    <a:pt x="202752" y="114981"/>
                    <a:pt x="138274" y="179459"/>
                    <a:pt x="138274" y="258997"/>
                  </a:cubicBezTo>
                  <a:cubicBezTo>
                    <a:pt x="138274" y="338535"/>
                    <a:pt x="202752" y="403013"/>
                    <a:pt x="282290" y="403013"/>
                  </a:cubicBezTo>
                  <a:cubicBezTo>
                    <a:pt x="361828" y="403013"/>
                    <a:pt x="426306" y="338535"/>
                    <a:pt x="426306" y="258997"/>
                  </a:cubicBezTo>
                  <a:cubicBezTo>
                    <a:pt x="426306" y="179459"/>
                    <a:pt x="361828" y="114981"/>
                    <a:pt x="282290" y="114981"/>
                  </a:cubicBezTo>
                  <a:close/>
                  <a:moveTo>
                    <a:pt x="0" y="0"/>
                  </a:moveTo>
                  <a:lnTo>
                    <a:pt x="4248472" y="0"/>
                  </a:lnTo>
                  <a:lnTo>
                    <a:pt x="4248472" y="4248472"/>
                  </a:lnTo>
                  <a:lnTo>
                    <a:pt x="0" y="424847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p>
          </p:txBody>
        </p:sp>
      </p:grpSp>
      <p:grpSp>
        <p:nvGrpSpPr>
          <p:cNvPr id="14" name="Group 9">
            <a:extLst>
              <a:ext uri="{FF2B5EF4-FFF2-40B4-BE49-F238E27FC236}">
                <a16:creationId xmlns:a16="http://schemas.microsoft.com/office/drawing/2014/main" id="{26459BEA-87DE-4E7B-9FF6-64BDA13A45B4}"/>
              </a:ext>
            </a:extLst>
          </p:cNvPr>
          <p:cNvGrpSpPr/>
          <p:nvPr/>
        </p:nvGrpSpPr>
        <p:grpSpPr>
          <a:xfrm>
            <a:off x="9336360" y="2420888"/>
            <a:ext cx="1440160" cy="1800200"/>
            <a:chOff x="244450" y="1223068"/>
            <a:chExt cx="2585095" cy="2776583"/>
          </a:xfrm>
        </p:grpSpPr>
        <p:graphicFrame>
          <p:nvGraphicFramePr>
            <p:cNvPr id="15" name="Chart 10">
              <a:extLst>
                <a:ext uri="{FF2B5EF4-FFF2-40B4-BE49-F238E27FC236}">
                  <a16:creationId xmlns:a16="http://schemas.microsoft.com/office/drawing/2014/main" id="{7B744348-3494-4B85-BB1D-4EAB508844F8}"/>
                </a:ext>
              </a:extLst>
            </p:cNvPr>
            <p:cNvGraphicFramePr/>
            <p:nvPr>
              <p:extLst>
                <p:ext uri="{D42A27DB-BD31-4B8C-83A1-F6EECF244321}">
                  <p14:modId xmlns:p14="http://schemas.microsoft.com/office/powerpoint/2010/main" val="953424951"/>
                </p:ext>
              </p:extLst>
            </p:nvPr>
          </p:nvGraphicFramePr>
          <p:xfrm>
            <a:off x="244450" y="1517960"/>
            <a:ext cx="2585095" cy="2481691"/>
          </p:xfrm>
          <a:graphic>
            <a:graphicData uri="http://schemas.openxmlformats.org/drawingml/2006/chart">
              <c:chart xmlns:c="http://schemas.openxmlformats.org/drawingml/2006/chart" xmlns:r="http://schemas.openxmlformats.org/officeDocument/2006/relationships" r:id="rId3"/>
            </a:graphicData>
          </a:graphic>
        </p:graphicFrame>
        <p:sp>
          <p:nvSpPr>
            <p:cNvPr id="16" name="Rectangle 112">
              <a:extLst>
                <a:ext uri="{FF2B5EF4-FFF2-40B4-BE49-F238E27FC236}">
                  <a16:creationId xmlns:a16="http://schemas.microsoft.com/office/drawing/2014/main" id="{EECBD468-7DF4-4244-86AD-E9BFDD3EF73A}"/>
                </a:ext>
              </a:extLst>
            </p:cNvPr>
            <p:cNvSpPr/>
            <p:nvPr/>
          </p:nvSpPr>
          <p:spPr bwMode="gray">
            <a:xfrm>
              <a:off x="244450" y="1223068"/>
              <a:ext cx="2585095" cy="2776583"/>
            </a:xfrm>
            <a:custGeom>
              <a:avLst/>
              <a:gdLst/>
              <a:ahLst/>
              <a:cxnLst/>
              <a:rect l="l" t="t" r="r" b="b"/>
              <a:pathLst>
                <a:path w="4248472" h="4248472">
                  <a:moveTo>
                    <a:pt x="3963192" y="3851992"/>
                  </a:moveTo>
                  <a:cubicBezTo>
                    <a:pt x="3883654" y="3851992"/>
                    <a:pt x="3819176" y="3916470"/>
                    <a:pt x="3819176" y="3996008"/>
                  </a:cubicBezTo>
                  <a:cubicBezTo>
                    <a:pt x="3819176" y="4075546"/>
                    <a:pt x="3883654" y="4140024"/>
                    <a:pt x="3963192" y="4140024"/>
                  </a:cubicBezTo>
                  <a:cubicBezTo>
                    <a:pt x="4042730" y="4140024"/>
                    <a:pt x="4107208" y="4075546"/>
                    <a:pt x="4107208" y="3996008"/>
                  </a:cubicBezTo>
                  <a:cubicBezTo>
                    <a:pt x="4107208" y="3916470"/>
                    <a:pt x="4042730" y="3851992"/>
                    <a:pt x="3963192" y="3851992"/>
                  </a:cubicBezTo>
                  <a:close/>
                  <a:moveTo>
                    <a:pt x="3554050" y="3851992"/>
                  </a:moveTo>
                  <a:cubicBezTo>
                    <a:pt x="3474512" y="3851992"/>
                    <a:pt x="3410034" y="3916470"/>
                    <a:pt x="3410034" y="3996008"/>
                  </a:cubicBezTo>
                  <a:cubicBezTo>
                    <a:pt x="3410034" y="4075546"/>
                    <a:pt x="3474512" y="4140024"/>
                    <a:pt x="3554050" y="4140024"/>
                  </a:cubicBezTo>
                  <a:cubicBezTo>
                    <a:pt x="3633588" y="4140024"/>
                    <a:pt x="3698066" y="4075546"/>
                    <a:pt x="3698066" y="3996008"/>
                  </a:cubicBezTo>
                  <a:cubicBezTo>
                    <a:pt x="3698066" y="3916470"/>
                    <a:pt x="3633588" y="3851992"/>
                    <a:pt x="3554050" y="3851992"/>
                  </a:cubicBezTo>
                  <a:close/>
                  <a:moveTo>
                    <a:pt x="3144907" y="3851992"/>
                  </a:moveTo>
                  <a:cubicBezTo>
                    <a:pt x="3065369" y="3851992"/>
                    <a:pt x="3000891" y="3916470"/>
                    <a:pt x="3000891" y="3996008"/>
                  </a:cubicBezTo>
                  <a:cubicBezTo>
                    <a:pt x="3000891" y="4075546"/>
                    <a:pt x="3065369" y="4140024"/>
                    <a:pt x="3144907" y="4140024"/>
                  </a:cubicBezTo>
                  <a:cubicBezTo>
                    <a:pt x="3224445" y="4140024"/>
                    <a:pt x="3288923" y="4075546"/>
                    <a:pt x="3288923" y="3996008"/>
                  </a:cubicBezTo>
                  <a:cubicBezTo>
                    <a:pt x="3288923" y="3916470"/>
                    <a:pt x="3224445" y="3851992"/>
                    <a:pt x="3144907" y="3851992"/>
                  </a:cubicBezTo>
                  <a:close/>
                  <a:moveTo>
                    <a:pt x="2735764" y="3851992"/>
                  </a:moveTo>
                  <a:cubicBezTo>
                    <a:pt x="2656226" y="3851992"/>
                    <a:pt x="2591748" y="3916470"/>
                    <a:pt x="2591748" y="3996008"/>
                  </a:cubicBezTo>
                  <a:cubicBezTo>
                    <a:pt x="2591748" y="4075546"/>
                    <a:pt x="2656226" y="4140024"/>
                    <a:pt x="2735764" y="4140024"/>
                  </a:cubicBezTo>
                  <a:cubicBezTo>
                    <a:pt x="2815302" y="4140024"/>
                    <a:pt x="2879780" y="4075546"/>
                    <a:pt x="2879780" y="3996008"/>
                  </a:cubicBezTo>
                  <a:cubicBezTo>
                    <a:pt x="2879780" y="3916470"/>
                    <a:pt x="2815302" y="3851992"/>
                    <a:pt x="2735764" y="3851992"/>
                  </a:cubicBezTo>
                  <a:close/>
                  <a:moveTo>
                    <a:pt x="2326621" y="3851992"/>
                  </a:moveTo>
                  <a:cubicBezTo>
                    <a:pt x="2247083" y="3851992"/>
                    <a:pt x="2182605" y="3916470"/>
                    <a:pt x="2182605" y="3996008"/>
                  </a:cubicBezTo>
                  <a:cubicBezTo>
                    <a:pt x="2182605" y="4075546"/>
                    <a:pt x="2247083" y="4140024"/>
                    <a:pt x="2326621" y="4140024"/>
                  </a:cubicBezTo>
                  <a:cubicBezTo>
                    <a:pt x="2406159" y="4140024"/>
                    <a:pt x="2470637" y="4075546"/>
                    <a:pt x="2470637" y="3996008"/>
                  </a:cubicBezTo>
                  <a:cubicBezTo>
                    <a:pt x="2470637" y="3916470"/>
                    <a:pt x="2406159" y="3851992"/>
                    <a:pt x="2326621" y="3851992"/>
                  </a:cubicBezTo>
                  <a:close/>
                  <a:moveTo>
                    <a:pt x="1917478" y="3851992"/>
                  </a:moveTo>
                  <a:cubicBezTo>
                    <a:pt x="1837940" y="3851992"/>
                    <a:pt x="1773462" y="3916470"/>
                    <a:pt x="1773462" y="3996008"/>
                  </a:cubicBezTo>
                  <a:cubicBezTo>
                    <a:pt x="1773462" y="4075546"/>
                    <a:pt x="1837940" y="4140024"/>
                    <a:pt x="1917478" y="4140024"/>
                  </a:cubicBezTo>
                  <a:cubicBezTo>
                    <a:pt x="1997016" y="4140024"/>
                    <a:pt x="2061494" y="4075546"/>
                    <a:pt x="2061494" y="3996008"/>
                  </a:cubicBezTo>
                  <a:cubicBezTo>
                    <a:pt x="2061494" y="3916470"/>
                    <a:pt x="1997016" y="3851992"/>
                    <a:pt x="1917478" y="3851992"/>
                  </a:cubicBezTo>
                  <a:close/>
                  <a:moveTo>
                    <a:pt x="1508335" y="3851992"/>
                  </a:moveTo>
                  <a:cubicBezTo>
                    <a:pt x="1428797" y="3851992"/>
                    <a:pt x="1364319" y="3916470"/>
                    <a:pt x="1364319" y="3996008"/>
                  </a:cubicBezTo>
                  <a:cubicBezTo>
                    <a:pt x="1364319" y="4075546"/>
                    <a:pt x="1428797" y="4140024"/>
                    <a:pt x="1508335" y="4140024"/>
                  </a:cubicBezTo>
                  <a:cubicBezTo>
                    <a:pt x="1587873" y="4140024"/>
                    <a:pt x="1652351" y="4075546"/>
                    <a:pt x="1652351" y="3996008"/>
                  </a:cubicBezTo>
                  <a:cubicBezTo>
                    <a:pt x="1652351" y="3916470"/>
                    <a:pt x="1587873" y="3851992"/>
                    <a:pt x="1508335" y="3851992"/>
                  </a:cubicBezTo>
                  <a:close/>
                  <a:moveTo>
                    <a:pt x="1099192" y="3851992"/>
                  </a:moveTo>
                  <a:cubicBezTo>
                    <a:pt x="1019654" y="3851992"/>
                    <a:pt x="955176" y="3916470"/>
                    <a:pt x="955176" y="3996008"/>
                  </a:cubicBezTo>
                  <a:cubicBezTo>
                    <a:pt x="955176" y="4075546"/>
                    <a:pt x="1019654" y="4140024"/>
                    <a:pt x="1099192" y="4140024"/>
                  </a:cubicBezTo>
                  <a:cubicBezTo>
                    <a:pt x="1178730" y="4140024"/>
                    <a:pt x="1243208" y="4075546"/>
                    <a:pt x="1243208" y="3996008"/>
                  </a:cubicBezTo>
                  <a:cubicBezTo>
                    <a:pt x="1243208" y="3916470"/>
                    <a:pt x="1178730" y="3851992"/>
                    <a:pt x="1099192" y="3851992"/>
                  </a:cubicBezTo>
                  <a:close/>
                  <a:moveTo>
                    <a:pt x="690049" y="3851992"/>
                  </a:moveTo>
                  <a:cubicBezTo>
                    <a:pt x="610511" y="3851992"/>
                    <a:pt x="546033" y="3916470"/>
                    <a:pt x="546033" y="3996008"/>
                  </a:cubicBezTo>
                  <a:cubicBezTo>
                    <a:pt x="546033" y="4075546"/>
                    <a:pt x="610511" y="4140024"/>
                    <a:pt x="690049" y="4140024"/>
                  </a:cubicBezTo>
                  <a:cubicBezTo>
                    <a:pt x="769587" y="4140024"/>
                    <a:pt x="834065" y="4075546"/>
                    <a:pt x="834065" y="3996008"/>
                  </a:cubicBezTo>
                  <a:cubicBezTo>
                    <a:pt x="834065" y="3916470"/>
                    <a:pt x="769587" y="3851992"/>
                    <a:pt x="690049" y="3851992"/>
                  </a:cubicBezTo>
                  <a:close/>
                  <a:moveTo>
                    <a:pt x="280906" y="3851992"/>
                  </a:moveTo>
                  <a:cubicBezTo>
                    <a:pt x="201368" y="3851992"/>
                    <a:pt x="136890" y="3916470"/>
                    <a:pt x="136890" y="3996008"/>
                  </a:cubicBezTo>
                  <a:cubicBezTo>
                    <a:pt x="136890" y="4075546"/>
                    <a:pt x="201368" y="4140024"/>
                    <a:pt x="280906" y="4140024"/>
                  </a:cubicBezTo>
                  <a:cubicBezTo>
                    <a:pt x="360444" y="4140024"/>
                    <a:pt x="424922" y="4075546"/>
                    <a:pt x="424922" y="3996008"/>
                  </a:cubicBezTo>
                  <a:cubicBezTo>
                    <a:pt x="424922" y="3916470"/>
                    <a:pt x="360444" y="3851992"/>
                    <a:pt x="280906" y="3851992"/>
                  </a:cubicBezTo>
                  <a:close/>
                  <a:moveTo>
                    <a:pt x="3970176" y="3436765"/>
                  </a:moveTo>
                  <a:cubicBezTo>
                    <a:pt x="3890638" y="3436765"/>
                    <a:pt x="3826160" y="3501243"/>
                    <a:pt x="3826160" y="3580781"/>
                  </a:cubicBezTo>
                  <a:cubicBezTo>
                    <a:pt x="3826160" y="3660319"/>
                    <a:pt x="3890638" y="3724797"/>
                    <a:pt x="3970176" y="3724797"/>
                  </a:cubicBezTo>
                  <a:cubicBezTo>
                    <a:pt x="4049714" y="3724797"/>
                    <a:pt x="4114192" y="3660319"/>
                    <a:pt x="4114192" y="3580781"/>
                  </a:cubicBezTo>
                  <a:cubicBezTo>
                    <a:pt x="4114192" y="3501243"/>
                    <a:pt x="4049714" y="3436765"/>
                    <a:pt x="3970176" y="3436765"/>
                  </a:cubicBezTo>
                  <a:close/>
                  <a:moveTo>
                    <a:pt x="3561034" y="3436765"/>
                  </a:moveTo>
                  <a:cubicBezTo>
                    <a:pt x="3481496" y="3436765"/>
                    <a:pt x="3417018" y="3501243"/>
                    <a:pt x="3417018" y="3580781"/>
                  </a:cubicBezTo>
                  <a:cubicBezTo>
                    <a:pt x="3417018" y="3660319"/>
                    <a:pt x="3481496" y="3724797"/>
                    <a:pt x="3561034" y="3724797"/>
                  </a:cubicBezTo>
                  <a:cubicBezTo>
                    <a:pt x="3640572" y="3724797"/>
                    <a:pt x="3705050" y="3660319"/>
                    <a:pt x="3705050" y="3580781"/>
                  </a:cubicBezTo>
                  <a:cubicBezTo>
                    <a:pt x="3705050" y="3501243"/>
                    <a:pt x="3640572" y="3436765"/>
                    <a:pt x="3561034" y="3436765"/>
                  </a:cubicBezTo>
                  <a:close/>
                  <a:moveTo>
                    <a:pt x="3151891" y="3436765"/>
                  </a:moveTo>
                  <a:cubicBezTo>
                    <a:pt x="3072353" y="3436765"/>
                    <a:pt x="3007875" y="3501243"/>
                    <a:pt x="3007875" y="3580781"/>
                  </a:cubicBezTo>
                  <a:cubicBezTo>
                    <a:pt x="3007875" y="3660319"/>
                    <a:pt x="3072353" y="3724797"/>
                    <a:pt x="3151891" y="3724797"/>
                  </a:cubicBezTo>
                  <a:cubicBezTo>
                    <a:pt x="3231429" y="3724797"/>
                    <a:pt x="3295907" y="3660319"/>
                    <a:pt x="3295907" y="3580781"/>
                  </a:cubicBezTo>
                  <a:cubicBezTo>
                    <a:pt x="3295907" y="3501243"/>
                    <a:pt x="3231429" y="3436765"/>
                    <a:pt x="3151891" y="3436765"/>
                  </a:cubicBezTo>
                  <a:close/>
                  <a:moveTo>
                    <a:pt x="2742748" y="3436765"/>
                  </a:moveTo>
                  <a:cubicBezTo>
                    <a:pt x="2663210" y="3436765"/>
                    <a:pt x="2598732" y="3501243"/>
                    <a:pt x="2598732" y="3580781"/>
                  </a:cubicBezTo>
                  <a:cubicBezTo>
                    <a:pt x="2598732" y="3660319"/>
                    <a:pt x="2663210" y="3724797"/>
                    <a:pt x="2742748" y="3724797"/>
                  </a:cubicBezTo>
                  <a:cubicBezTo>
                    <a:pt x="2822286" y="3724797"/>
                    <a:pt x="2886764" y="3660319"/>
                    <a:pt x="2886764" y="3580781"/>
                  </a:cubicBezTo>
                  <a:cubicBezTo>
                    <a:pt x="2886764" y="3501243"/>
                    <a:pt x="2822286" y="3436765"/>
                    <a:pt x="2742748" y="3436765"/>
                  </a:cubicBezTo>
                  <a:close/>
                  <a:moveTo>
                    <a:pt x="2333605" y="3436765"/>
                  </a:moveTo>
                  <a:cubicBezTo>
                    <a:pt x="2254067" y="3436765"/>
                    <a:pt x="2189589" y="3501243"/>
                    <a:pt x="2189589" y="3580781"/>
                  </a:cubicBezTo>
                  <a:cubicBezTo>
                    <a:pt x="2189589" y="3660319"/>
                    <a:pt x="2254067" y="3724797"/>
                    <a:pt x="2333605" y="3724797"/>
                  </a:cubicBezTo>
                  <a:cubicBezTo>
                    <a:pt x="2413143" y="3724797"/>
                    <a:pt x="2477621" y="3660319"/>
                    <a:pt x="2477621" y="3580781"/>
                  </a:cubicBezTo>
                  <a:cubicBezTo>
                    <a:pt x="2477621" y="3501243"/>
                    <a:pt x="2413143" y="3436765"/>
                    <a:pt x="2333605" y="3436765"/>
                  </a:cubicBezTo>
                  <a:close/>
                  <a:moveTo>
                    <a:pt x="1924462" y="3436765"/>
                  </a:moveTo>
                  <a:cubicBezTo>
                    <a:pt x="1844924" y="3436765"/>
                    <a:pt x="1780446" y="3501243"/>
                    <a:pt x="1780446" y="3580781"/>
                  </a:cubicBezTo>
                  <a:cubicBezTo>
                    <a:pt x="1780446" y="3660319"/>
                    <a:pt x="1844924" y="3724797"/>
                    <a:pt x="1924462" y="3724797"/>
                  </a:cubicBezTo>
                  <a:cubicBezTo>
                    <a:pt x="2004000" y="3724797"/>
                    <a:pt x="2068478" y="3660319"/>
                    <a:pt x="2068478" y="3580781"/>
                  </a:cubicBezTo>
                  <a:cubicBezTo>
                    <a:pt x="2068478" y="3501243"/>
                    <a:pt x="2004000" y="3436765"/>
                    <a:pt x="1924462" y="3436765"/>
                  </a:cubicBezTo>
                  <a:close/>
                  <a:moveTo>
                    <a:pt x="1515319" y="3436765"/>
                  </a:moveTo>
                  <a:cubicBezTo>
                    <a:pt x="1435781" y="3436765"/>
                    <a:pt x="1371303" y="3501243"/>
                    <a:pt x="1371303" y="3580781"/>
                  </a:cubicBezTo>
                  <a:cubicBezTo>
                    <a:pt x="1371303" y="3660319"/>
                    <a:pt x="1435781" y="3724797"/>
                    <a:pt x="1515319" y="3724797"/>
                  </a:cubicBezTo>
                  <a:cubicBezTo>
                    <a:pt x="1594857" y="3724797"/>
                    <a:pt x="1659335" y="3660319"/>
                    <a:pt x="1659335" y="3580781"/>
                  </a:cubicBezTo>
                  <a:cubicBezTo>
                    <a:pt x="1659335" y="3501243"/>
                    <a:pt x="1594857" y="3436765"/>
                    <a:pt x="1515319" y="3436765"/>
                  </a:cubicBezTo>
                  <a:close/>
                  <a:moveTo>
                    <a:pt x="1106176" y="3436765"/>
                  </a:moveTo>
                  <a:cubicBezTo>
                    <a:pt x="1026638" y="3436765"/>
                    <a:pt x="962160" y="3501243"/>
                    <a:pt x="962160" y="3580781"/>
                  </a:cubicBezTo>
                  <a:cubicBezTo>
                    <a:pt x="962160" y="3660319"/>
                    <a:pt x="1026638" y="3724797"/>
                    <a:pt x="1106176" y="3724797"/>
                  </a:cubicBezTo>
                  <a:cubicBezTo>
                    <a:pt x="1185714" y="3724797"/>
                    <a:pt x="1250192" y="3660319"/>
                    <a:pt x="1250192" y="3580781"/>
                  </a:cubicBezTo>
                  <a:cubicBezTo>
                    <a:pt x="1250192" y="3501243"/>
                    <a:pt x="1185714" y="3436765"/>
                    <a:pt x="1106176" y="3436765"/>
                  </a:cubicBezTo>
                  <a:close/>
                  <a:moveTo>
                    <a:pt x="697033" y="3436765"/>
                  </a:moveTo>
                  <a:cubicBezTo>
                    <a:pt x="617495" y="3436765"/>
                    <a:pt x="553017" y="3501243"/>
                    <a:pt x="553017" y="3580781"/>
                  </a:cubicBezTo>
                  <a:cubicBezTo>
                    <a:pt x="553017" y="3660319"/>
                    <a:pt x="617495" y="3724797"/>
                    <a:pt x="697033" y="3724797"/>
                  </a:cubicBezTo>
                  <a:cubicBezTo>
                    <a:pt x="776571" y="3724797"/>
                    <a:pt x="841049" y="3660319"/>
                    <a:pt x="841049" y="3580781"/>
                  </a:cubicBezTo>
                  <a:cubicBezTo>
                    <a:pt x="841049" y="3501243"/>
                    <a:pt x="776571" y="3436765"/>
                    <a:pt x="697033" y="3436765"/>
                  </a:cubicBezTo>
                  <a:close/>
                  <a:moveTo>
                    <a:pt x="287890" y="3436765"/>
                  </a:moveTo>
                  <a:cubicBezTo>
                    <a:pt x="208352" y="3436765"/>
                    <a:pt x="143874" y="3501243"/>
                    <a:pt x="143874" y="3580781"/>
                  </a:cubicBezTo>
                  <a:cubicBezTo>
                    <a:pt x="143874" y="3660319"/>
                    <a:pt x="208352" y="3724797"/>
                    <a:pt x="287890" y="3724797"/>
                  </a:cubicBezTo>
                  <a:cubicBezTo>
                    <a:pt x="367428" y="3724797"/>
                    <a:pt x="431906" y="3660319"/>
                    <a:pt x="431906" y="3580781"/>
                  </a:cubicBezTo>
                  <a:cubicBezTo>
                    <a:pt x="431906" y="3501243"/>
                    <a:pt x="367428" y="3436765"/>
                    <a:pt x="287890" y="3436765"/>
                  </a:cubicBezTo>
                  <a:close/>
                  <a:moveTo>
                    <a:pt x="3969476" y="3021542"/>
                  </a:moveTo>
                  <a:cubicBezTo>
                    <a:pt x="3889938" y="3021542"/>
                    <a:pt x="3825460" y="3086020"/>
                    <a:pt x="3825460" y="3165558"/>
                  </a:cubicBezTo>
                  <a:cubicBezTo>
                    <a:pt x="3825460" y="3245096"/>
                    <a:pt x="3889938" y="3309574"/>
                    <a:pt x="3969476" y="3309574"/>
                  </a:cubicBezTo>
                  <a:cubicBezTo>
                    <a:pt x="4049014" y="3309574"/>
                    <a:pt x="4113492" y="3245096"/>
                    <a:pt x="4113492" y="3165558"/>
                  </a:cubicBezTo>
                  <a:cubicBezTo>
                    <a:pt x="4113492" y="3086020"/>
                    <a:pt x="4049014" y="3021542"/>
                    <a:pt x="3969476" y="3021542"/>
                  </a:cubicBezTo>
                  <a:close/>
                  <a:moveTo>
                    <a:pt x="3560334" y="3021542"/>
                  </a:moveTo>
                  <a:cubicBezTo>
                    <a:pt x="3480796" y="3021542"/>
                    <a:pt x="3416318" y="3086020"/>
                    <a:pt x="3416318" y="3165558"/>
                  </a:cubicBezTo>
                  <a:cubicBezTo>
                    <a:pt x="3416318" y="3245096"/>
                    <a:pt x="3480796" y="3309574"/>
                    <a:pt x="3560334" y="3309574"/>
                  </a:cubicBezTo>
                  <a:cubicBezTo>
                    <a:pt x="3639872" y="3309574"/>
                    <a:pt x="3704350" y="3245096"/>
                    <a:pt x="3704350" y="3165558"/>
                  </a:cubicBezTo>
                  <a:cubicBezTo>
                    <a:pt x="3704350" y="3086020"/>
                    <a:pt x="3639872" y="3021542"/>
                    <a:pt x="3560334" y="3021542"/>
                  </a:cubicBezTo>
                  <a:close/>
                  <a:moveTo>
                    <a:pt x="3151191" y="3021542"/>
                  </a:moveTo>
                  <a:cubicBezTo>
                    <a:pt x="3071653" y="3021542"/>
                    <a:pt x="3007175" y="3086020"/>
                    <a:pt x="3007175" y="3165558"/>
                  </a:cubicBezTo>
                  <a:cubicBezTo>
                    <a:pt x="3007175" y="3245096"/>
                    <a:pt x="3071653" y="3309574"/>
                    <a:pt x="3151191" y="3309574"/>
                  </a:cubicBezTo>
                  <a:cubicBezTo>
                    <a:pt x="3230729" y="3309574"/>
                    <a:pt x="3295207" y="3245096"/>
                    <a:pt x="3295207" y="3165558"/>
                  </a:cubicBezTo>
                  <a:cubicBezTo>
                    <a:pt x="3295207" y="3086020"/>
                    <a:pt x="3230729" y="3021542"/>
                    <a:pt x="3151191" y="3021542"/>
                  </a:cubicBezTo>
                  <a:close/>
                  <a:moveTo>
                    <a:pt x="2742048" y="3021542"/>
                  </a:moveTo>
                  <a:cubicBezTo>
                    <a:pt x="2662510" y="3021542"/>
                    <a:pt x="2598032" y="3086020"/>
                    <a:pt x="2598032" y="3165558"/>
                  </a:cubicBezTo>
                  <a:cubicBezTo>
                    <a:pt x="2598032" y="3245096"/>
                    <a:pt x="2662510" y="3309574"/>
                    <a:pt x="2742048" y="3309574"/>
                  </a:cubicBezTo>
                  <a:cubicBezTo>
                    <a:pt x="2821586" y="3309574"/>
                    <a:pt x="2886064" y="3245096"/>
                    <a:pt x="2886064" y="3165558"/>
                  </a:cubicBezTo>
                  <a:cubicBezTo>
                    <a:pt x="2886064" y="3086020"/>
                    <a:pt x="2821586" y="3021542"/>
                    <a:pt x="2742048" y="3021542"/>
                  </a:cubicBezTo>
                  <a:close/>
                  <a:moveTo>
                    <a:pt x="2332905" y="3021542"/>
                  </a:moveTo>
                  <a:cubicBezTo>
                    <a:pt x="2253367" y="3021542"/>
                    <a:pt x="2188889" y="3086020"/>
                    <a:pt x="2188889" y="3165558"/>
                  </a:cubicBezTo>
                  <a:cubicBezTo>
                    <a:pt x="2188889" y="3245096"/>
                    <a:pt x="2253367" y="3309574"/>
                    <a:pt x="2332905" y="3309574"/>
                  </a:cubicBezTo>
                  <a:cubicBezTo>
                    <a:pt x="2412443" y="3309574"/>
                    <a:pt x="2476921" y="3245096"/>
                    <a:pt x="2476921" y="3165558"/>
                  </a:cubicBezTo>
                  <a:cubicBezTo>
                    <a:pt x="2476921" y="3086020"/>
                    <a:pt x="2412443" y="3021542"/>
                    <a:pt x="2332905" y="3021542"/>
                  </a:cubicBezTo>
                  <a:close/>
                  <a:moveTo>
                    <a:pt x="1923762" y="3021542"/>
                  </a:moveTo>
                  <a:cubicBezTo>
                    <a:pt x="1844224" y="3021542"/>
                    <a:pt x="1779746" y="3086020"/>
                    <a:pt x="1779746" y="3165558"/>
                  </a:cubicBezTo>
                  <a:cubicBezTo>
                    <a:pt x="1779746" y="3245096"/>
                    <a:pt x="1844224" y="3309574"/>
                    <a:pt x="1923762" y="3309574"/>
                  </a:cubicBezTo>
                  <a:cubicBezTo>
                    <a:pt x="2003300" y="3309574"/>
                    <a:pt x="2067778" y="3245096"/>
                    <a:pt x="2067778" y="3165558"/>
                  </a:cubicBezTo>
                  <a:cubicBezTo>
                    <a:pt x="2067778" y="3086020"/>
                    <a:pt x="2003300" y="3021542"/>
                    <a:pt x="1923762" y="3021542"/>
                  </a:cubicBezTo>
                  <a:close/>
                  <a:moveTo>
                    <a:pt x="1514619" y="3021542"/>
                  </a:moveTo>
                  <a:cubicBezTo>
                    <a:pt x="1435081" y="3021542"/>
                    <a:pt x="1370603" y="3086020"/>
                    <a:pt x="1370603" y="3165558"/>
                  </a:cubicBezTo>
                  <a:cubicBezTo>
                    <a:pt x="1370603" y="3245096"/>
                    <a:pt x="1435081" y="3309574"/>
                    <a:pt x="1514619" y="3309574"/>
                  </a:cubicBezTo>
                  <a:cubicBezTo>
                    <a:pt x="1594157" y="3309574"/>
                    <a:pt x="1658635" y="3245096"/>
                    <a:pt x="1658635" y="3165558"/>
                  </a:cubicBezTo>
                  <a:cubicBezTo>
                    <a:pt x="1658635" y="3086020"/>
                    <a:pt x="1594157" y="3021542"/>
                    <a:pt x="1514619" y="3021542"/>
                  </a:cubicBezTo>
                  <a:close/>
                  <a:moveTo>
                    <a:pt x="1105476" y="3021542"/>
                  </a:moveTo>
                  <a:cubicBezTo>
                    <a:pt x="1025938" y="3021542"/>
                    <a:pt x="961460" y="3086020"/>
                    <a:pt x="961460" y="3165558"/>
                  </a:cubicBezTo>
                  <a:cubicBezTo>
                    <a:pt x="961460" y="3245096"/>
                    <a:pt x="1025938" y="3309574"/>
                    <a:pt x="1105476" y="3309574"/>
                  </a:cubicBezTo>
                  <a:cubicBezTo>
                    <a:pt x="1185014" y="3309574"/>
                    <a:pt x="1249492" y="3245096"/>
                    <a:pt x="1249492" y="3165558"/>
                  </a:cubicBezTo>
                  <a:cubicBezTo>
                    <a:pt x="1249492" y="3086020"/>
                    <a:pt x="1185014" y="3021542"/>
                    <a:pt x="1105476" y="3021542"/>
                  </a:cubicBezTo>
                  <a:close/>
                  <a:moveTo>
                    <a:pt x="696333" y="3021542"/>
                  </a:moveTo>
                  <a:cubicBezTo>
                    <a:pt x="616795" y="3021542"/>
                    <a:pt x="552317" y="3086020"/>
                    <a:pt x="552317" y="3165558"/>
                  </a:cubicBezTo>
                  <a:cubicBezTo>
                    <a:pt x="552317" y="3245096"/>
                    <a:pt x="616795" y="3309574"/>
                    <a:pt x="696333" y="3309574"/>
                  </a:cubicBezTo>
                  <a:cubicBezTo>
                    <a:pt x="775871" y="3309574"/>
                    <a:pt x="840349" y="3245096"/>
                    <a:pt x="840349" y="3165558"/>
                  </a:cubicBezTo>
                  <a:cubicBezTo>
                    <a:pt x="840349" y="3086020"/>
                    <a:pt x="775871" y="3021542"/>
                    <a:pt x="696333" y="3021542"/>
                  </a:cubicBezTo>
                  <a:close/>
                  <a:moveTo>
                    <a:pt x="287190" y="3021542"/>
                  </a:moveTo>
                  <a:cubicBezTo>
                    <a:pt x="207652" y="3021542"/>
                    <a:pt x="143174" y="3086020"/>
                    <a:pt x="143174" y="3165558"/>
                  </a:cubicBezTo>
                  <a:cubicBezTo>
                    <a:pt x="143174" y="3245096"/>
                    <a:pt x="207652" y="3309574"/>
                    <a:pt x="287190" y="3309574"/>
                  </a:cubicBezTo>
                  <a:cubicBezTo>
                    <a:pt x="366728" y="3309574"/>
                    <a:pt x="431206" y="3245096"/>
                    <a:pt x="431206" y="3165558"/>
                  </a:cubicBezTo>
                  <a:cubicBezTo>
                    <a:pt x="431206" y="3086020"/>
                    <a:pt x="366728" y="3021542"/>
                    <a:pt x="287190" y="3021542"/>
                  </a:cubicBezTo>
                  <a:close/>
                  <a:moveTo>
                    <a:pt x="3968776" y="2606319"/>
                  </a:moveTo>
                  <a:cubicBezTo>
                    <a:pt x="3889238" y="2606319"/>
                    <a:pt x="3824760" y="2670797"/>
                    <a:pt x="3824760" y="2750335"/>
                  </a:cubicBezTo>
                  <a:cubicBezTo>
                    <a:pt x="3824760" y="2829873"/>
                    <a:pt x="3889238" y="2894351"/>
                    <a:pt x="3968776" y="2894351"/>
                  </a:cubicBezTo>
                  <a:cubicBezTo>
                    <a:pt x="4048314" y="2894351"/>
                    <a:pt x="4112792" y="2829873"/>
                    <a:pt x="4112792" y="2750335"/>
                  </a:cubicBezTo>
                  <a:cubicBezTo>
                    <a:pt x="4112792" y="2670797"/>
                    <a:pt x="4048314" y="2606319"/>
                    <a:pt x="3968776" y="2606319"/>
                  </a:cubicBezTo>
                  <a:close/>
                  <a:moveTo>
                    <a:pt x="3559634" y="2606319"/>
                  </a:moveTo>
                  <a:cubicBezTo>
                    <a:pt x="3480096" y="2606319"/>
                    <a:pt x="3415618" y="2670797"/>
                    <a:pt x="3415618" y="2750335"/>
                  </a:cubicBezTo>
                  <a:cubicBezTo>
                    <a:pt x="3415618" y="2829873"/>
                    <a:pt x="3480096" y="2894351"/>
                    <a:pt x="3559634" y="2894351"/>
                  </a:cubicBezTo>
                  <a:cubicBezTo>
                    <a:pt x="3639172" y="2894351"/>
                    <a:pt x="3703650" y="2829873"/>
                    <a:pt x="3703650" y="2750335"/>
                  </a:cubicBezTo>
                  <a:cubicBezTo>
                    <a:pt x="3703650" y="2670797"/>
                    <a:pt x="3639172" y="2606319"/>
                    <a:pt x="3559634" y="2606319"/>
                  </a:cubicBezTo>
                  <a:close/>
                  <a:moveTo>
                    <a:pt x="3150491" y="2606319"/>
                  </a:moveTo>
                  <a:cubicBezTo>
                    <a:pt x="3070953" y="2606319"/>
                    <a:pt x="3006475" y="2670797"/>
                    <a:pt x="3006475" y="2750335"/>
                  </a:cubicBezTo>
                  <a:cubicBezTo>
                    <a:pt x="3006475" y="2829873"/>
                    <a:pt x="3070953" y="2894351"/>
                    <a:pt x="3150491" y="2894351"/>
                  </a:cubicBezTo>
                  <a:cubicBezTo>
                    <a:pt x="3230029" y="2894351"/>
                    <a:pt x="3294507" y="2829873"/>
                    <a:pt x="3294507" y="2750335"/>
                  </a:cubicBezTo>
                  <a:cubicBezTo>
                    <a:pt x="3294507" y="2670797"/>
                    <a:pt x="3230029" y="2606319"/>
                    <a:pt x="3150491" y="2606319"/>
                  </a:cubicBezTo>
                  <a:close/>
                  <a:moveTo>
                    <a:pt x="2741348" y="2606319"/>
                  </a:moveTo>
                  <a:cubicBezTo>
                    <a:pt x="2661810" y="2606319"/>
                    <a:pt x="2597332" y="2670797"/>
                    <a:pt x="2597332" y="2750335"/>
                  </a:cubicBezTo>
                  <a:cubicBezTo>
                    <a:pt x="2597332" y="2829873"/>
                    <a:pt x="2661810" y="2894351"/>
                    <a:pt x="2741348" y="2894351"/>
                  </a:cubicBezTo>
                  <a:cubicBezTo>
                    <a:pt x="2820886" y="2894351"/>
                    <a:pt x="2885364" y="2829873"/>
                    <a:pt x="2885364" y="2750335"/>
                  </a:cubicBezTo>
                  <a:cubicBezTo>
                    <a:pt x="2885364" y="2670797"/>
                    <a:pt x="2820886" y="2606319"/>
                    <a:pt x="2741348" y="2606319"/>
                  </a:cubicBezTo>
                  <a:close/>
                  <a:moveTo>
                    <a:pt x="2332205" y="2606319"/>
                  </a:moveTo>
                  <a:cubicBezTo>
                    <a:pt x="2252667" y="2606319"/>
                    <a:pt x="2188189" y="2670797"/>
                    <a:pt x="2188189" y="2750335"/>
                  </a:cubicBezTo>
                  <a:cubicBezTo>
                    <a:pt x="2188189" y="2829873"/>
                    <a:pt x="2252667" y="2894351"/>
                    <a:pt x="2332205" y="2894351"/>
                  </a:cubicBezTo>
                  <a:cubicBezTo>
                    <a:pt x="2411743" y="2894351"/>
                    <a:pt x="2476221" y="2829873"/>
                    <a:pt x="2476221" y="2750335"/>
                  </a:cubicBezTo>
                  <a:cubicBezTo>
                    <a:pt x="2476221" y="2670797"/>
                    <a:pt x="2411743" y="2606319"/>
                    <a:pt x="2332205" y="2606319"/>
                  </a:cubicBezTo>
                  <a:close/>
                  <a:moveTo>
                    <a:pt x="1923062" y="2606319"/>
                  </a:moveTo>
                  <a:cubicBezTo>
                    <a:pt x="1843524" y="2606319"/>
                    <a:pt x="1779046" y="2670797"/>
                    <a:pt x="1779046" y="2750335"/>
                  </a:cubicBezTo>
                  <a:cubicBezTo>
                    <a:pt x="1779046" y="2829873"/>
                    <a:pt x="1843524" y="2894351"/>
                    <a:pt x="1923062" y="2894351"/>
                  </a:cubicBezTo>
                  <a:cubicBezTo>
                    <a:pt x="2002600" y="2894351"/>
                    <a:pt x="2067078" y="2829873"/>
                    <a:pt x="2067078" y="2750335"/>
                  </a:cubicBezTo>
                  <a:cubicBezTo>
                    <a:pt x="2067078" y="2670797"/>
                    <a:pt x="2002600" y="2606319"/>
                    <a:pt x="1923062" y="2606319"/>
                  </a:cubicBezTo>
                  <a:close/>
                  <a:moveTo>
                    <a:pt x="1513919" y="2606319"/>
                  </a:moveTo>
                  <a:cubicBezTo>
                    <a:pt x="1434381" y="2606319"/>
                    <a:pt x="1369903" y="2670797"/>
                    <a:pt x="1369903" y="2750335"/>
                  </a:cubicBezTo>
                  <a:cubicBezTo>
                    <a:pt x="1369903" y="2829873"/>
                    <a:pt x="1434381" y="2894351"/>
                    <a:pt x="1513919" y="2894351"/>
                  </a:cubicBezTo>
                  <a:cubicBezTo>
                    <a:pt x="1593457" y="2894351"/>
                    <a:pt x="1657935" y="2829873"/>
                    <a:pt x="1657935" y="2750335"/>
                  </a:cubicBezTo>
                  <a:cubicBezTo>
                    <a:pt x="1657935" y="2670797"/>
                    <a:pt x="1593457" y="2606319"/>
                    <a:pt x="1513919" y="2606319"/>
                  </a:cubicBezTo>
                  <a:close/>
                  <a:moveTo>
                    <a:pt x="1104776" y="2606319"/>
                  </a:moveTo>
                  <a:cubicBezTo>
                    <a:pt x="1025238" y="2606319"/>
                    <a:pt x="960760" y="2670797"/>
                    <a:pt x="960760" y="2750335"/>
                  </a:cubicBezTo>
                  <a:cubicBezTo>
                    <a:pt x="960760" y="2829873"/>
                    <a:pt x="1025238" y="2894351"/>
                    <a:pt x="1104776" y="2894351"/>
                  </a:cubicBezTo>
                  <a:cubicBezTo>
                    <a:pt x="1184314" y="2894351"/>
                    <a:pt x="1248792" y="2829873"/>
                    <a:pt x="1248792" y="2750335"/>
                  </a:cubicBezTo>
                  <a:cubicBezTo>
                    <a:pt x="1248792" y="2670797"/>
                    <a:pt x="1184314" y="2606319"/>
                    <a:pt x="1104776" y="2606319"/>
                  </a:cubicBezTo>
                  <a:close/>
                  <a:moveTo>
                    <a:pt x="695633" y="2606319"/>
                  </a:moveTo>
                  <a:cubicBezTo>
                    <a:pt x="616095" y="2606319"/>
                    <a:pt x="551617" y="2670797"/>
                    <a:pt x="551617" y="2750335"/>
                  </a:cubicBezTo>
                  <a:cubicBezTo>
                    <a:pt x="551617" y="2829873"/>
                    <a:pt x="616095" y="2894351"/>
                    <a:pt x="695633" y="2894351"/>
                  </a:cubicBezTo>
                  <a:cubicBezTo>
                    <a:pt x="775171" y="2894351"/>
                    <a:pt x="839649" y="2829873"/>
                    <a:pt x="839649" y="2750335"/>
                  </a:cubicBezTo>
                  <a:cubicBezTo>
                    <a:pt x="839649" y="2670797"/>
                    <a:pt x="775171" y="2606319"/>
                    <a:pt x="695633" y="2606319"/>
                  </a:cubicBezTo>
                  <a:close/>
                  <a:moveTo>
                    <a:pt x="286490" y="2606319"/>
                  </a:moveTo>
                  <a:cubicBezTo>
                    <a:pt x="206952" y="2606319"/>
                    <a:pt x="142474" y="2670797"/>
                    <a:pt x="142474" y="2750335"/>
                  </a:cubicBezTo>
                  <a:cubicBezTo>
                    <a:pt x="142474" y="2829873"/>
                    <a:pt x="206952" y="2894351"/>
                    <a:pt x="286490" y="2894351"/>
                  </a:cubicBezTo>
                  <a:cubicBezTo>
                    <a:pt x="366028" y="2894351"/>
                    <a:pt x="430506" y="2829873"/>
                    <a:pt x="430506" y="2750335"/>
                  </a:cubicBezTo>
                  <a:cubicBezTo>
                    <a:pt x="430506" y="2670797"/>
                    <a:pt x="366028" y="2606319"/>
                    <a:pt x="286490" y="2606319"/>
                  </a:cubicBezTo>
                  <a:close/>
                  <a:moveTo>
                    <a:pt x="3968076" y="2191096"/>
                  </a:moveTo>
                  <a:cubicBezTo>
                    <a:pt x="3888538" y="2191096"/>
                    <a:pt x="3824060" y="2255574"/>
                    <a:pt x="3824060" y="2335112"/>
                  </a:cubicBezTo>
                  <a:cubicBezTo>
                    <a:pt x="3824060" y="2414650"/>
                    <a:pt x="3888538" y="2479128"/>
                    <a:pt x="3968076" y="2479128"/>
                  </a:cubicBezTo>
                  <a:cubicBezTo>
                    <a:pt x="4047614" y="2479128"/>
                    <a:pt x="4112092" y="2414650"/>
                    <a:pt x="4112092" y="2335112"/>
                  </a:cubicBezTo>
                  <a:cubicBezTo>
                    <a:pt x="4112092" y="2255574"/>
                    <a:pt x="4047614" y="2191096"/>
                    <a:pt x="3968076" y="2191096"/>
                  </a:cubicBezTo>
                  <a:close/>
                  <a:moveTo>
                    <a:pt x="3558934" y="2191096"/>
                  </a:moveTo>
                  <a:cubicBezTo>
                    <a:pt x="3479396" y="2191096"/>
                    <a:pt x="3414918" y="2255574"/>
                    <a:pt x="3414918" y="2335112"/>
                  </a:cubicBezTo>
                  <a:cubicBezTo>
                    <a:pt x="3414918" y="2414650"/>
                    <a:pt x="3479396" y="2479128"/>
                    <a:pt x="3558934" y="2479128"/>
                  </a:cubicBezTo>
                  <a:cubicBezTo>
                    <a:pt x="3638472" y="2479128"/>
                    <a:pt x="3702950" y="2414650"/>
                    <a:pt x="3702950" y="2335112"/>
                  </a:cubicBezTo>
                  <a:cubicBezTo>
                    <a:pt x="3702950" y="2255574"/>
                    <a:pt x="3638472" y="2191096"/>
                    <a:pt x="3558934" y="2191096"/>
                  </a:cubicBezTo>
                  <a:close/>
                  <a:moveTo>
                    <a:pt x="3149791" y="2191096"/>
                  </a:moveTo>
                  <a:cubicBezTo>
                    <a:pt x="3070253" y="2191096"/>
                    <a:pt x="3005775" y="2255574"/>
                    <a:pt x="3005775" y="2335112"/>
                  </a:cubicBezTo>
                  <a:cubicBezTo>
                    <a:pt x="3005775" y="2414650"/>
                    <a:pt x="3070253" y="2479128"/>
                    <a:pt x="3149791" y="2479128"/>
                  </a:cubicBezTo>
                  <a:cubicBezTo>
                    <a:pt x="3229329" y="2479128"/>
                    <a:pt x="3293807" y="2414650"/>
                    <a:pt x="3293807" y="2335112"/>
                  </a:cubicBezTo>
                  <a:cubicBezTo>
                    <a:pt x="3293807" y="2255574"/>
                    <a:pt x="3229329" y="2191096"/>
                    <a:pt x="3149791" y="2191096"/>
                  </a:cubicBezTo>
                  <a:close/>
                  <a:moveTo>
                    <a:pt x="2740648" y="2191096"/>
                  </a:moveTo>
                  <a:cubicBezTo>
                    <a:pt x="2661110" y="2191096"/>
                    <a:pt x="2596632" y="2255574"/>
                    <a:pt x="2596632" y="2335112"/>
                  </a:cubicBezTo>
                  <a:cubicBezTo>
                    <a:pt x="2596632" y="2414650"/>
                    <a:pt x="2661110" y="2479128"/>
                    <a:pt x="2740648" y="2479128"/>
                  </a:cubicBezTo>
                  <a:cubicBezTo>
                    <a:pt x="2820186" y="2479128"/>
                    <a:pt x="2884664" y="2414650"/>
                    <a:pt x="2884664" y="2335112"/>
                  </a:cubicBezTo>
                  <a:cubicBezTo>
                    <a:pt x="2884664" y="2255574"/>
                    <a:pt x="2820186" y="2191096"/>
                    <a:pt x="2740648" y="2191096"/>
                  </a:cubicBezTo>
                  <a:close/>
                  <a:moveTo>
                    <a:pt x="2331505" y="2191096"/>
                  </a:moveTo>
                  <a:cubicBezTo>
                    <a:pt x="2251967" y="2191096"/>
                    <a:pt x="2187489" y="2255574"/>
                    <a:pt x="2187489" y="2335112"/>
                  </a:cubicBezTo>
                  <a:cubicBezTo>
                    <a:pt x="2187489" y="2414650"/>
                    <a:pt x="2251967" y="2479128"/>
                    <a:pt x="2331505" y="2479128"/>
                  </a:cubicBezTo>
                  <a:cubicBezTo>
                    <a:pt x="2411043" y="2479128"/>
                    <a:pt x="2475521" y="2414650"/>
                    <a:pt x="2475521" y="2335112"/>
                  </a:cubicBezTo>
                  <a:cubicBezTo>
                    <a:pt x="2475521" y="2255574"/>
                    <a:pt x="2411043" y="2191096"/>
                    <a:pt x="2331505" y="2191096"/>
                  </a:cubicBezTo>
                  <a:close/>
                  <a:moveTo>
                    <a:pt x="1922362" y="2191096"/>
                  </a:moveTo>
                  <a:cubicBezTo>
                    <a:pt x="1842824" y="2191096"/>
                    <a:pt x="1778346" y="2255574"/>
                    <a:pt x="1778346" y="2335112"/>
                  </a:cubicBezTo>
                  <a:cubicBezTo>
                    <a:pt x="1778346" y="2414650"/>
                    <a:pt x="1842824" y="2479128"/>
                    <a:pt x="1922362" y="2479128"/>
                  </a:cubicBezTo>
                  <a:cubicBezTo>
                    <a:pt x="2001900" y="2479128"/>
                    <a:pt x="2066378" y="2414650"/>
                    <a:pt x="2066378" y="2335112"/>
                  </a:cubicBezTo>
                  <a:cubicBezTo>
                    <a:pt x="2066378" y="2255574"/>
                    <a:pt x="2001900" y="2191096"/>
                    <a:pt x="1922362" y="2191096"/>
                  </a:cubicBezTo>
                  <a:close/>
                  <a:moveTo>
                    <a:pt x="1513219" y="2191096"/>
                  </a:moveTo>
                  <a:cubicBezTo>
                    <a:pt x="1433681" y="2191096"/>
                    <a:pt x="1369203" y="2255574"/>
                    <a:pt x="1369203" y="2335112"/>
                  </a:cubicBezTo>
                  <a:cubicBezTo>
                    <a:pt x="1369203" y="2414650"/>
                    <a:pt x="1433681" y="2479128"/>
                    <a:pt x="1513219" y="2479128"/>
                  </a:cubicBezTo>
                  <a:cubicBezTo>
                    <a:pt x="1592757" y="2479128"/>
                    <a:pt x="1657235" y="2414650"/>
                    <a:pt x="1657235" y="2335112"/>
                  </a:cubicBezTo>
                  <a:cubicBezTo>
                    <a:pt x="1657235" y="2255574"/>
                    <a:pt x="1592757" y="2191096"/>
                    <a:pt x="1513219" y="2191096"/>
                  </a:cubicBezTo>
                  <a:close/>
                  <a:moveTo>
                    <a:pt x="1104076" y="2191096"/>
                  </a:moveTo>
                  <a:cubicBezTo>
                    <a:pt x="1024538" y="2191096"/>
                    <a:pt x="960060" y="2255574"/>
                    <a:pt x="960060" y="2335112"/>
                  </a:cubicBezTo>
                  <a:cubicBezTo>
                    <a:pt x="960060" y="2414650"/>
                    <a:pt x="1024538" y="2479128"/>
                    <a:pt x="1104076" y="2479128"/>
                  </a:cubicBezTo>
                  <a:cubicBezTo>
                    <a:pt x="1183614" y="2479128"/>
                    <a:pt x="1248092" y="2414650"/>
                    <a:pt x="1248092" y="2335112"/>
                  </a:cubicBezTo>
                  <a:cubicBezTo>
                    <a:pt x="1248092" y="2255574"/>
                    <a:pt x="1183614" y="2191096"/>
                    <a:pt x="1104076" y="2191096"/>
                  </a:cubicBezTo>
                  <a:close/>
                  <a:moveTo>
                    <a:pt x="694933" y="2191096"/>
                  </a:moveTo>
                  <a:cubicBezTo>
                    <a:pt x="615395" y="2191096"/>
                    <a:pt x="550917" y="2255574"/>
                    <a:pt x="550917" y="2335112"/>
                  </a:cubicBezTo>
                  <a:cubicBezTo>
                    <a:pt x="550917" y="2414650"/>
                    <a:pt x="615395" y="2479128"/>
                    <a:pt x="694933" y="2479128"/>
                  </a:cubicBezTo>
                  <a:cubicBezTo>
                    <a:pt x="774471" y="2479128"/>
                    <a:pt x="838949" y="2414650"/>
                    <a:pt x="838949" y="2335112"/>
                  </a:cubicBezTo>
                  <a:cubicBezTo>
                    <a:pt x="838949" y="2255574"/>
                    <a:pt x="774471" y="2191096"/>
                    <a:pt x="694933" y="2191096"/>
                  </a:cubicBezTo>
                  <a:close/>
                  <a:moveTo>
                    <a:pt x="285790" y="2191096"/>
                  </a:moveTo>
                  <a:cubicBezTo>
                    <a:pt x="206252" y="2191096"/>
                    <a:pt x="141774" y="2255574"/>
                    <a:pt x="141774" y="2335112"/>
                  </a:cubicBezTo>
                  <a:cubicBezTo>
                    <a:pt x="141774" y="2414650"/>
                    <a:pt x="206252" y="2479128"/>
                    <a:pt x="285790" y="2479128"/>
                  </a:cubicBezTo>
                  <a:cubicBezTo>
                    <a:pt x="365328" y="2479128"/>
                    <a:pt x="429806" y="2414650"/>
                    <a:pt x="429806" y="2335112"/>
                  </a:cubicBezTo>
                  <a:cubicBezTo>
                    <a:pt x="429806" y="2255574"/>
                    <a:pt x="365328" y="2191096"/>
                    <a:pt x="285790" y="2191096"/>
                  </a:cubicBezTo>
                  <a:close/>
                  <a:moveTo>
                    <a:pt x="3967376" y="1775873"/>
                  </a:moveTo>
                  <a:cubicBezTo>
                    <a:pt x="3887838" y="1775873"/>
                    <a:pt x="3823360" y="1840351"/>
                    <a:pt x="3823360" y="1919889"/>
                  </a:cubicBezTo>
                  <a:cubicBezTo>
                    <a:pt x="3823360" y="1999427"/>
                    <a:pt x="3887838" y="2063905"/>
                    <a:pt x="3967376" y="2063905"/>
                  </a:cubicBezTo>
                  <a:cubicBezTo>
                    <a:pt x="4046914" y="2063905"/>
                    <a:pt x="4111392" y="1999427"/>
                    <a:pt x="4111392" y="1919889"/>
                  </a:cubicBezTo>
                  <a:cubicBezTo>
                    <a:pt x="4111392" y="1840351"/>
                    <a:pt x="4046914" y="1775873"/>
                    <a:pt x="3967376" y="1775873"/>
                  </a:cubicBezTo>
                  <a:close/>
                  <a:moveTo>
                    <a:pt x="3558234" y="1775873"/>
                  </a:moveTo>
                  <a:cubicBezTo>
                    <a:pt x="3478696" y="1775873"/>
                    <a:pt x="3414218" y="1840351"/>
                    <a:pt x="3414218" y="1919889"/>
                  </a:cubicBezTo>
                  <a:cubicBezTo>
                    <a:pt x="3414218" y="1999427"/>
                    <a:pt x="3478696" y="2063905"/>
                    <a:pt x="3558234" y="2063905"/>
                  </a:cubicBezTo>
                  <a:cubicBezTo>
                    <a:pt x="3637772" y="2063905"/>
                    <a:pt x="3702250" y="1999427"/>
                    <a:pt x="3702250" y="1919889"/>
                  </a:cubicBezTo>
                  <a:cubicBezTo>
                    <a:pt x="3702250" y="1840351"/>
                    <a:pt x="3637772" y="1775873"/>
                    <a:pt x="3558234" y="1775873"/>
                  </a:cubicBezTo>
                  <a:close/>
                  <a:moveTo>
                    <a:pt x="3149091" y="1775873"/>
                  </a:moveTo>
                  <a:cubicBezTo>
                    <a:pt x="3069553" y="1775873"/>
                    <a:pt x="3005075" y="1840351"/>
                    <a:pt x="3005075" y="1919889"/>
                  </a:cubicBezTo>
                  <a:cubicBezTo>
                    <a:pt x="3005075" y="1999427"/>
                    <a:pt x="3069553" y="2063905"/>
                    <a:pt x="3149091" y="2063905"/>
                  </a:cubicBezTo>
                  <a:cubicBezTo>
                    <a:pt x="3228629" y="2063905"/>
                    <a:pt x="3293107" y="1999427"/>
                    <a:pt x="3293107" y="1919889"/>
                  </a:cubicBezTo>
                  <a:cubicBezTo>
                    <a:pt x="3293107" y="1840351"/>
                    <a:pt x="3228629" y="1775873"/>
                    <a:pt x="3149091" y="1775873"/>
                  </a:cubicBezTo>
                  <a:close/>
                  <a:moveTo>
                    <a:pt x="2739948" y="1775873"/>
                  </a:moveTo>
                  <a:cubicBezTo>
                    <a:pt x="2660410" y="1775873"/>
                    <a:pt x="2595932" y="1840351"/>
                    <a:pt x="2595932" y="1919889"/>
                  </a:cubicBezTo>
                  <a:cubicBezTo>
                    <a:pt x="2595932" y="1999427"/>
                    <a:pt x="2660410" y="2063905"/>
                    <a:pt x="2739948" y="2063905"/>
                  </a:cubicBezTo>
                  <a:cubicBezTo>
                    <a:pt x="2819486" y="2063905"/>
                    <a:pt x="2883964" y="1999427"/>
                    <a:pt x="2883964" y="1919889"/>
                  </a:cubicBezTo>
                  <a:cubicBezTo>
                    <a:pt x="2883964" y="1840351"/>
                    <a:pt x="2819486" y="1775873"/>
                    <a:pt x="2739948" y="1775873"/>
                  </a:cubicBezTo>
                  <a:close/>
                  <a:moveTo>
                    <a:pt x="2330805" y="1775873"/>
                  </a:moveTo>
                  <a:cubicBezTo>
                    <a:pt x="2251267" y="1775873"/>
                    <a:pt x="2186789" y="1840351"/>
                    <a:pt x="2186789" y="1919889"/>
                  </a:cubicBezTo>
                  <a:cubicBezTo>
                    <a:pt x="2186789" y="1999427"/>
                    <a:pt x="2251267" y="2063905"/>
                    <a:pt x="2330805" y="2063905"/>
                  </a:cubicBezTo>
                  <a:cubicBezTo>
                    <a:pt x="2410343" y="2063905"/>
                    <a:pt x="2474821" y="1999427"/>
                    <a:pt x="2474821" y="1919889"/>
                  </a:cubicBezTo>
                  <a:cubicBezTo>
                    <a:pt x="2474821" y="1840351"/>
                    <a:pt x="2410343" y="1775873"/>
                    <a:pt x="2330805" y="1775873"/>
                  </a:cubicBezTo>
                  <a:close/>
                  <a:moveTo>
                    <a:pt x="1921662" y="1775873"/>
                  </a:moveTo>
                  <a:cubicBezTo>
                    <a:pt x="1842124" y="1775873"/>
                    <a:pt x="1777646" y="1840351"/>
                    <a:pt x="1777646" y="1919889"/>
                  </a:cubicBezTo>
                  <a:cubicBezTo>
                    <a:pt x="1777646" y="1999427"/>
                    <a:pt x="1842124" y="2063905"/>
                    <a:pt x="1921662" y="2063905"/>
                  </a:cubicBezTo>
                  <a:cubicBezTo>
                    <a:pt x="2001200" y="2063905"/>
                    <a:pt x="2065678" y="1999427"/>
                    <a:pt x="2065678" y="1919889"/>
                  </a:cubicBezTo>
                  <a:cubicBezTo>
                    <a:pt x="2065678" y="1840351"/>
                    <a:pt x="2001200" y="1775873"/>
                    <a:pt x="1921662" y="1775873"/>
                  </a:cubicBezTo>
                  <a:close/>
                  <a:moveTo>
                    <a:pt x="1512519" y="1775873"/>
                  </a:moveTo>
                  <a:cubicBezTo>
                    <a:pt x="1432981" y="1775873"/>
                    <a:pt x="1368503" y="1840351"/>
                    <a:pt x="1368503" y="1919889"/>
                  </a:cubicBezTo>
                  <a:cubicBezTo>
                    <a:pt x="1368503" y="1999427"/>
                    <a:pt x="1432981" y="2063905"/>
                    <a:pt x="1512519" y="2063905"/>
                  </a:cubicBezTo>
                  <a:cubicBezTo>
                    <a:pt x="1592057" y="2063905"/>
                    <a:pt x="1656535" y="1999427"/>
                    <a:pt x="1656535" y="1919889"/>
                  </a:cubicBezTo>
                  <a:cubicBezTo>
                    <a:pt x="1656535" y="1840351"/>
                    <a:pt x="1592057" y="1775873"/>
                    <a:pt x="1512519" y="1775873"/>
                  </a:cubicBezTo>
                  <a:close/>
                  <a:moveTo>
                    <a:pt x="1103376" y="1775873"/>
                  </a:moveTo>
                  <a:cubicBezTo>
                    <a:pt x="1023838" y="1775873"/>
                    <a:pt x="959360" y="1840351"/>
                    <a:pt x="959360" y="1919889"/>
                  </a:cubicBezTo>
                  <a:cubicBezTo>
                    <a:pt x="959360" y="1999427"/>
                    <a:pt x="1023838" y="2063905"/>
                    <a:pt x="1103376" y="2063905"/>
                  </a:cubicBezTo>
                  <a:cubicBezTo>
                    <a:pt x="1182914" y="2063905"/>
                    <a:pt x="1247392" y="1999427"/>
                    <a:pt x="1247392" y="1919889"/>
                  </a:cubicBezTo>
                  <a:cubicBezTo>
                    <a:pt x="1247392" y="1840351"/>
                    <a:pt x="1182914" y="1775873"/>
                    <a:pt x="1103376" y="1775873"/>
                  </a:cubicBezTo>
                  <a:close/>
                  <a:moveTo>
                    <a:pt x="694233" y="1775873"/>
                  </a:moveTo>
                  <a:cubicBezTo>
                    <a:pt x="614695" y="1775873"/>
                    <a:pt x="550217" y="1840351"/>
                    <a:pt x="550217" y="1919889"/>
                  </a:cubicBezTo>
                  <a:cubicBezTo>
                    <a:pt x="550217" y="1999427"/>
                    <a:pt x="614695" y="2063905"/>
                    <a:pt x="694233" y="2063905"/>
                  </a:cubicBezTo>
                  <a:cubicBezTo>
                    <a:pt x="773771" y="2063905"/>
                    <a:pt x="838249" y="1999427"/>
                    <a:pt x="838249" y="1919889"/>
                  </a:cubicBezTo>
                  <a:cubicBezTo>
                    <a:pt x="838249" y="1840351"/>
                    <a:pt x="773771" y="1775873"/>
                    <a:pt x="694233" y="1775873"/>
                  </a:cubicBezTo>
                  <a:close/>
                  <a:moveTo>
                    <a:pt x="285090" y="1775873"/>
                  </a:moveTo>
                  <a:cubicBezTo>
                    <a:pt x="205552" y="1775873"/>
                    <a:pt x="141074" y="1840351"/>
                    <a:pt x="141074" y="1919889"/>
                  </a:cubicBezTo>
                  <a:cubicBezTo>
                    <a:pt x="141074" y="1999427"/>
                    <a:pt x="205552" y="2063905"/>
                    <a:pt x="285090" y="2063905"/>
                  </a:cubicBezTo>
                  <a:cubicBezTo>
                    <a:pt x="364628" y="2063905"/>
                    <a:pt x="429106" y="1999427"/>
                    <a:pt x="429106" y="1919889"/>
                  </a:cubicBezTo>
                  <a:cubicBezTo>
                    <a:pt x="429106" y="1840351"/>
                    <a:pt x="364628" y="1775873"/>
                    <a:pt x="285090" y="1775873"/>
                  </a:cubicBezTo>
                  <a:close/>
                  <a:moveTo>
                    <a:pt x="3966676" y="1360650"/>
                  </a:moveTo>
                  <a:cubicBezTo>
                    <a:pt x="3887138" y="1360650"/>
                    <a:pt x="3822660" y="1425128"/>
                    <a:pt x="3822660" y="1504666"/>
                  </a:cubicBezTo>
                  <a:cubicBezTo>
                    <a:pt x="3822660" y="1584204"/>
                    <a:pt x="3887138" y="1648682"/>
                    <a:pt x="3966676" y="1648682"/>
                  </a:cubicBezTo>
                  <a:cubicBezTo>
                    <a:pt x="4046214" y="1648682"/>
                    <a:pt x="4110692" y="1584204"/>
                    <a:pt x="4110692" y="1504666"/>
                  </a:cubicBezTo>
                  <a:cubicBezTo>
                    <a:pt x="4110692" y="1425128"/>
                    <a:pt x="4046214" y="1360650"/>
                    <a:pt x="3966676" y="1360650"/>
                  </a:cubicBezTo>
                  <a:close/>
                  <a:moveTo>
                    <a:pt x="3557534" y="1360650"/>
                  </a:moveTo>
                  <a:cubicBezTo>
                    <a:pt x="3477996" y="1360650"/>
                    <a:pt x="3413518" y="1425128"/>
                    <a:pt x="3413518" y="1504666"/>
                  </a:cubicBezTo>
                  <a:cubicBezTo>
                    <a:pt x="3413518" y="1584204"/>
                    <a:pt x="3477996" y="1648682"/>
                    <a:pt x="3557534" y="1648682"/>
                  </a:cubicBezTo>
                  <a:cubicBezTo>
                    <a:pt x="3637072" y="1648682"/>
                    <a:pt x="3701550" y="1584204"/>
                    <a:pt x="3701550" y="1504666"/>
                  </a:cubicBezTo>
                  <a:cubicBezTo>
                    <a:pt x="3701550" y="1425128"/>
                    <a:pt x="3637072" y="1360650"/>
                    <a:pt x="3557534" y="1360650"/>
                  </a:cubicBezTo>
                  <a:close/>
                  <a:moveTo>
                    <a:pt x="3148391" y="1360650"/>
                  </a:moveTo>
                  <a:cubicBezTo>
                    <a:pt x="3068853" y="1360650"/>
                    <a:pt x="3004375" y="1425128"/>
                    <a:pt x="3004375" y="1504666"/>
                  </a:cubicBezTo>
                  <a:cubicBezTo>
                    <a:pt x="3004375" y="1584204"/>
                    <a:pt x="3068853" y="1648682"/>
                    <a:pt x="3148391" y="1648682"/>
                  </a:cubicBezTo>
                  <a:cubicBezTo>
                    <a:pt x="3227929" y="1648682"/>
                    <a:pt x="3292407" y="1584204"/>
                    <a:pt x="3292407" y="1504666"/>
                  </a:cubicBezTo>
                  <a:cubicBezTo>
                    <a:pt x="3292407" y="1425128"/>
                    <a:pt x="3227929" y="1360650"/>
                    <a:pt x="3148391" y="1360650"/>
                  </a:cubicBezTo>
                  <a:close/>
                  <a:moveTo>
                    <a:pt x="2739248" y="1360650"/>
                  </a:moveTo>
                  <a:cubicBezTo>
                    <a:pt x="2659710" y="1360650"/>
                    <a:pt x="2595232" y="1425128"/>
                    <a:pt x="2595232" y="1504666"/>
                  </a:cubicBezTo>
                  <a:cubicBezTo>
                    <a:pt x="2595232" y="1584204"/>
                    <a:pt x="2659710" y="1648682"/>
                    <a:pt x="2739248" y="1648682"/>
                  </a:cubicBezTo>
                  <a:cubicBezTo>
                    <a:pt x="2818786" y="1648682"/>
                    <a:pt x="2883264" y="1584204"/>
                    <a:pt x="2883264" y="1504666"/>
                  </a:cubicBezTo>
                  <a:cubicBezTo>
                    <a:pt x="2883264" y="1425128"/>
                    <a:pt x="2818786" y="1360650"/>
                    <a:pt x="2739248" y="1360650"/>
                  </a:cubicBezTo>
                  <a:close/>
                  <a:moveTo>
                    <a:pt x="2330105" y="1360650"/>
                  </a:moveTo>
                  <a:cubicBezTo>
                    <a:pt x="2250567" y="1360650"/>
                    <a:pt x="2186089" y="1425128"/>
                    <a:pt x="2186089" y="1504666"/>
                  </a:cubicBezTo>
                  <a:cubicBezTo>
                    <a:pt x="2186089" y="1584204"/>
                    <a:pt x="2250567" y="1648682"/>
                    <a:pt x="2330105" y="1648682"/>
                  </a:cubicBezTo>
                  <a:cubicBezTo>
                    <a:pt x="2409643" y="1648682"/>
                    <a:pt x="2474121" y="1584204"/>
                    <a:pt x="2474121" y="1504666"/>
                  </a:cubicBezTo>
                  <a:cubicBezTo>
                    <a:pt x="2474121" y="1425128"/>
                    <a:pt x="2409643" y="1360650"/>
                    <a:pt x="2330105" y="1360650"/>
                  </a:cubicBezTo>
                  <a:close/>
                  <a:moveTo>
                    <a:pt x="1920962" y="1360650"/>
                  </a:moveTo>
                  <a:cubicBezTo>
                    <a:pt x="1841424" y="1360650"/>
                    <a:pt x="1776946" y="1425128"/>
                    <a:pt x="1776946" y="1504666"/>
                  </a:cubicBezTo>
                  <a:cubicBezTo>
                    <a:pt x="1776946" y="1584204"/>
                    <a:pt x="1841424" y="1648682"/>
                    <a:pt x="1920962" y="1648682"/>
                  </a:cubicBezTo>
                  <a:cubicBezTo>
                    <a:pt x="2000500" y="1648682"/>
                    <a:pt x="2064978" y="1584204"/>
                    <a:pt x="2064978" y="1504666"/>
                  </a:cubicBezTo>
                  <a:cubicBezTo>
                    <a:pt x="2064978" y="1425128"/>
                    <a:pt x="2000500" y="1360650"/>
                    <a:pt x="1920962" y="1360650"/>
                  </a:cubicBezTo>
                  <a:close/>
                  <a:moveTo>
                    <a:pt x="1511819" y="1360650"/>
                  </a:moveTo>
                  <a:cubicBezTo>
                    <a:pt x="1432281" y="1360650"/>
                    <a:pt x="1367803" y="1425128"/>
                    <a:pt x="1367803" y="1504666"/>
                  </a:cubicBezTo>
                  <a:cubicBezTo>
                    <a:pt x="1367803" y="1584204"/>
                    <a:pt x="1432281" y="1648682"/>
                    <a:pt x="1511819" y="1648682"/>
                  </a:cubicBezTo>
                  <a:cubicBezTo>
                    <a:pt x="1591357" y="1648682"/>
                    <a:pt x="1655835" y="1584204"/>
                    <a:pt x="1655835" y="1504666"/>
                  </a:cubicBezTo>
                  <a:cubicBezTo>
                    <a:pt x="1655835" y="1425128"/>
                    <a:pt x="1591357" y="1360650"/>
                    <a:pt x="1511819" y="1360650"/>
                  </a:cubicBezTo>
                  <a:close/>
                  <a:moveTo>
                    <a:pt x="1102676" y="1360650"/>
                  </a:moveTo>
                  <a:cubicBezTo>
                    <a:pt x="1023138" y="1360650"/>
                    <a:pt x="958660" y="1425128"/>
                    <a:pt x="958660" y="1504666"/>
                  </a:cubicBezTo>
                  <a:cubicBezTo>
                    <a:pt x="958660" y="1584204"/>
                    <a:pt x="1023138" y="1648682"/>
                    <a:pt x="1102676" y="1648682"/>
                  </a:cubicBezTo>
                  <a:cubicBezTo>
                    <a:pt x="1182214" y="1648682"/>
                    <a:pt x="1246692" y="1584204"/>
                    <a:pt x="1246692" y="1504666"/>
                  </a:cubicBezTo>
                  <a:cubicBezTo>
                    <a:pt x="1246692" y="1425128"/>
                    <a:pt x="1182214" y="1360650"/>
                    <a:pt x="1102676" y="1360650"/>
                  </a:cubicBezTo>
                  <a:close/>
                  <a:moveTo>
                    <a:pt x="693533" y="1360650"/>
                  </a:moveTo>
                  <a:cubicBezTo>
                    <a:pt x="613995" y="1360650"/>
                    <a:pt x="549517" y="1425128"/>
                    <a:pt x="549517" y="1504666"/>
                  </a:cubicBezTo>
                  <a:cubicBezTo>
                    <a:pt x="549517" y="1584204"/>
                    <a:pt x="613995" y="1648682"/>
                    <a:pt x="693533" y="1648682"/>
                  </a:cubicBezTo>
                  <a:cubicBezTo>
                    <a:pt x="773071" y="1648682"/>
                    <a:pt x="837549" y="1584204"/>
                    <a:pt x="837549" y="1504666"/>
                  </a:cubicBezTo>
                  <a:cubicBezTo>
                    <a:pt x="837549" y="1425128"/>
                    <a:pt x="773071" y="1360650"/>
                    <a:pt x="693533" y="1360650"/>
                  </a:cubicBezTo>
                  <a:close/>
                  <a:moveTo>
                    <a:pt x="284390" y="1360650"/>
                  </a:moveTo>
                  <a:cubicBezTo>
                    <a:pt x="204852" y="1360650"/>
                    <a:pt x="140374" y="1425128"/>
                    <a:pt x="140374" y="1504666"/>
                  </a:cubicBezTo>
                  <a:cubicBezTo>
                    <a:pt x="140374" y="1584204"/>
                    <a:pt x="204852" y="1648682"/>
                    <a:pt x="284390" y="1648682"/>
                  </a:cubicBezTo>
                  <a:cubicBezTo>
                    <a:pt x="363928" y="1648682"/>
                    <a:pt x="428406" y="1584204"/>
                    <a:pt x="428406" y="1504666"/>
                  </a:cubicBezTo>
                  <a:cubicBezTo>
                    <a:pt x="428406" y="1425128"/>
                    <a:pt x="363928" y="1360650"/>
                    <a:pt x="284390" y="1360650"/>
                  </a:cubicBezTo>
                  <a:close/>
                  <a:moveTo>
                    <a:pt x="3965976" y="945427"/>
                  </a:moveTo>
                  <a:cubicBezTo>
                    <a:pt x="3886438" y="945427"/>
                    <a:pt x="3821960" y="1009905"/>
                    <a:pt x="3821960" y="1089443"/>
                  </a:cubicBezTo>
                  <a:cubicBezTo>
                    <a:pt x="3821960" y="1168981"/>
                    <a:pt x="3886438" y="1233459"/>
                    <a:pt x="3965976" y="1233459"/>
                  </a:cubicBezTo>
                  <a:cubicBezTo>
                    <a:pt x="4045514" y="1233459"/>
                    <a:pt x="4109992" y="1168981"/>
                    <a:pt x="4109992" y="1089443"/>
                  </a:cubicBezTo>
                  <a:cubicBezTo>
                    <a:pt x="4109992" y="1009905"/>
                    <a:pt x="4045514" y="945427"/>
                    <a:pt x="3965976" y="945427"/>
                  </a:cubicBezTo>
                  <a:close/>
                  <a:moveTo>
                    <a:pt x="3556834" y="945427"/>
                  </a:moveTo>
                  <a:cubicBezTo>
                    <a:pt x="3477296" y="945427"/>
                    <a:pt x="3412818" y="1009905"/>
                    <a:pt x="3412818" y="1089443"/>
                  </a:cubicBezTo>
                  <a:cubicBezTo>
                    <a:pt x="3412818" y="1168981"/>
                    <a:pt x="3477296" y="1233459"/>
                    <a:pt x="3556834" y="1233459"/>
                  </a:cubicBezTo>
                  <a:cubicBezTo>
                    <a:pt x="3636372" y="1233459"/>
                    <a:pt x="3700850" y="1168981"/>
                    <a:pt x="3700850" y="1089443"/>
                  </a:cubicBezTo>
                  <a:cubicBezTo>
                    <a:pt x="3700850" y="1009905"/>
                    <a:pt x="3636372" y="945427"/>
                    <a:pt x="3556834" y="945427"/>
                  </a:cubicBezTo>
                  <a:close/>
                  <a:moveTo>
                    <a:pt x="3147691" y="945427"/>
                  </a:moveTo>
                  <a:cubicBezTo>
                    <a:pt x="3068153" y="945427"/>
                    <a:pt x="3003675" y="1009905"/>
                    <a:pt x="3003675" y="1089443"/>
                  </a:cubicBezTo>
                  <a:cubicBezTo>
                    <a:pt x="3003675" y="1168981"/>
                    <a:pt x="3068153" y="1233459"/>
                    <a:pt x="3147691" y="1233459"/>
                  </a:cubicBezTo>
                  <a:cubicBezTo>
                    <a:pt x="3227229" y="1233459"/>
                    <a:pt x="3291707" y="1168981"/>
                    <a:pt x="3291707" y="1089443"/>
                  </a:cubicBezTo>
                  <a:cubicBezTo>
                    <a:pt x="3291707" y="1009905"/>
                    <a:pt x="3227229" y="945427"/>
                    <a:pt x="3147691" y="945427"/>
                  </a:cubicBezTo>
                  <a:close/>
                  <a:moveTo>
                    <a:pt x="2738548" y="945427"/>
                  </a:moveTo>
                  <a:cubicBezTo>
                    <a:pt x="2659010" y="945427"/>
                    <a:pt x="2594532" y="1009905"/>
                    <a:pt x="2594532" y="1089443"/>
                  </a:cubicBezTo>
                  <a:cubicBezTo>
                    <a:pt x="2594532" y="1168981"/>
                    <a:pt x="2659010" y="1233459"/>
                    <a:pt x="2738548" y="1233459"/>
                  </a:cubicBezTo>
                  <a:cubicBezTo>
                    <a:pt x="2818086" y="1233459"/>
                    <a:pt x="2882564" y="1168981"/>
                    <a:pt x="2882564" y="1089443"/>
                  </a:cubicBezTo>
                  <a:cubicBezTo>
                    <a:pt x="2882564" y="1009905"/>
                    <a:pt x="2818086" y="945427"/>
                    <a:pt x="2738548" y="945427"/>
                  </a:cubicBezTo>
                  <a:close/>
                  <a:moveTo>
                    <a:pt x="2329405" y="945427"/>
                  </a:moveTo>
                  <a:cubicBezTo>
                    <a:pt x="2249867" y="945427"/>
                    <a:pt x="2185389" y="1009905"/>
                    <a:pt x="2185389" y="1089443"/>
                  </a:cubicBezTo>
                  <a:cubicBezTo>
                    <a:pt x="2185389" y="1168981"/>
                    <a:pt x="2249867" y="1233459"/>
                    <a:pt x="2329405" y="1233459"/>
                  </a:cubicBezTo>
                  <a:cubicBezTo>
                    <a:pt x="2408943" y="1233459"/>
                    <a:pt x="2473421" y="1168981"/>
                    <a:pt x="2473421" y="1089443"/>
                  </a:cubicBezTo>
                  <a:cubicBezTo>
                    <a:pt x="2473421" y="1009905"/>
                    <a:pt x="2408943" y="945427"/>
                    <a:pt x="2329405" y="945427"/>
                  </a:cubicBezTo>
                  <a:close/>
                  <a:moveTo>
                    <a:pt x="1920262" y="945427"/>
                  </a:moveTo>
                  <a:cubicBezTo>
                    <a:pt x="1840724" y="945427"/>
                    <a:pt x="1776246" y="1009905"/>
                    <a:pt x="1776246" y="1089443"/>
                  </a:cubicBezTo>
                  <a:cubicBezTo>
                    <a:pt x="1776246" y="1168981"/>
                    <a:pt x="1840724" y="1233459"/>
                    <a:pt x="1920262" y="1233459"/>
                  </a:cubicBezTo>
                  <a:cubicBezTo>
                    <a:pt x="1999800" y="1233459"/>
                    <a:pt x="2064278" y="1168981"/>
                    <a:pt x="2064278" y="1089443"/>
                  </a:cubicBezTo>
                  <a:cubicBezTo>
                    <a:pt x="2064278" y="1009905"/>
                    <a:pt x="1999800" y="945427"/>
                    <a:pt x="1920262" y="945427"/>
                  </a:cubicBezTo>
                  <a:close/>
                  <a:moveTo>
                    <a:pt x="1511119" y="945427"/>
                  </a:moveTo>
                  <a:cubicBezTo>
                    <a:pt x="1431581" y="945427"/>
                    <a:pt x="1367103" y="1009905"/>
                    <a:pt x="1367103" y="1089443"/>
                  </a:cubicBezTo>
                  <a:cubicBezTo>
                    <a:pt x="1367103" y="1168981"/>
                    <a:pt x="1431581" y="1233459"/>
                    <a:pt x="1511119" y="1233459"/>
                  </a:cubicBezTo>
                  <a:cubicBezTo>
                    <a:pt x="1590657" y="1233459"/>
                    <a:pt x="1655135" y="1168981"/>
                    <a:pt x="1655135" y="1089443"/>
                  </a:cubicBezTo>
                  <a:cubicBezTo>
                    <a:pt x="1655135" y="1009905"/>
                    <a:pt x="1590657" y="945427"/>
                    <a:pt x="1511119" y="945427"/>
                  </a:cubicBezTo>
                  <a:close/>
                  <a:moveTo>
                    <a:pt x="1101976" y="945427"/>
                  </a:moveTo>
                  <a:cubicBezTo>
                    <a:pt x="1022438" y="945427"/>
                    <a:pt x="957960" y="1009905"/>
                    <a:pt x="957960" y="1089443"/>
                  </a:cubicBezTo>
                  <a:cubicBezTo>
                    <a:pt x="957960" y="1168981"/>
                    <a:pt x="1022438" y="1233459"/>
                    <a:pt x="1101976" y="1233459"/>
                  </a:cubicBezTo>
                  <a:cubicBezTo>
                    <a:pt x="1181514" y="1233459"/>
                    <a:pt x="1245992" y="1168981"/>
                    <a:pt x="1245992" y="1089443"/>
                  </a:cubicBezTo>
                  <a:cubicBezTo>
                    <a:pt x="1245992" y="1009905"/>
                    <a:pt x="1181514" y="945427"/>
                    <a:pt x="1101976" y="945427"/>
                  </a:cubicBezTo>
                  <a:close/>
                  <a:moveTo>
                    <a:pt x="692833" y="945427"/>
                  </a:moveTo>
                  <a:cubicBezTo>
                    <a:pt x="613295" y="945427"/>
                    <a:pt x="548817" y="1009905"/>
                    <a:pt x="548817" y="1089443"/>
                  </a:cubicBezTo>
                  <a:cubicBezTo>
                    <a:pt x="548817" y="1168981"/>
                    <a:pt x="613295" y="1233459"/>
                    <a:pt x="692833" y="1233459"/>
                  </a:cubicBezTo>
                  <a:cubicBezTo>
                    <a:pt x="772371" y="1233459"/>
                    <a:pt x="836849" y="1168981"/>
                    <a:pt x="836849" y="1089443"/>
                  </a:cubicBezTo>
                  <a:cubicBezTo>
                    <a:pt x="836849" y="1009905"/>
                    <a:pt x="772371" y="945427"/>
                    <a:pt x="692833" y="945427"/>
                  </a:cubicBezTo>
                  <a:close/>
                  <a:moveTo>
                    <a:pt x="283690" y="945427"/>
                  </a:moveTo>
                  <a:cubicBezTo>
                    <a:pt x="204152" y="945427"/>
                    <a:pt x="139674" y="1009905"/>
                    <a:pt x="139674" y="1089443"/>
                  </a:cubicBezTo>
                  <a:cubicBezTo>
                    <a:pt x="139674" y="1168981"/>
                    <a:pt x="204152" y="1233459"/>
                    <a:pt x="283690" y="1233459"/>
                  </a:cubicBezTo>
                  <a:cubicBezTo>
                    <a:pt x="363228" y="1233459"/>
                    <a:pt x="427706" y="1168981"/>
                    <a:pt x="427706" y="1089443"/>
                  </a:cubicBezTo>
                  <a:cubicBezTo>
                    <a:pt x="427706" y="1009905"/>
                    <a:pt x="363228" y="945427"/>
                    <a:pt x="283690" y="945427"/>
                  </a:cubicBezTo>
                  <a:close/>
                  <a:moveTo>
                    <a:pt x="3965276" y="530204"/>
                  </a:moveTo>
                  <a:cubicBezTo>
                    <a:pt x="3885738" y="530204"/>
                    <a:pt x="3821260" y="594682"/>
                    <a:pt x="3821260" y="674220"/>
                  </a:cubicBezTo>
                  <a:cubicBezTo>
                    <a:pt x="3821260" y="753758"/>
                    <a:pt x="3885738" y="818236"/>
                    <a:pt x="3965276" y="818236"/>
                  </a:cubicBezTo>
                  <a:cubicBezTo>
                    <a:pt x="4044814" y="818236"/>
                    <a:pt x="4109292" y="753758"/>
                    <a:pt x="4109292" y="674220"/>
                  </a:cubicBezTo>
                  <a:cubicBezTo>
                    <a:pt x="4109292" y="594682"/>
                    <a:pt x="4044814" y="530204"/>
                    <a:pt x="3965276" y="530204"/>
                  </a:cubicBezTo>
                  <a:close/>
                  <a:moveTo>
                    <a:pt x="3556134" y="530204"/>
                  </a:moveTo>
                  <a:cubicBezTo>
                    <a:pt x="3476596" y="530204"/>
                    <a:pt x="3412118" y="594682"/>
                    <a:pt x="3412118" y="674220"/>
                  </a:cubicBezTo>
                  <a:cubicBezTo>
                    <a:pt x="3412118" y="753758"/>
                    <a:pt x="3476596" y="818236"/>
                    <a:pt x="3556134" y="818236"/>
                  </a:cubicBezTo>
                  <a:cubicBezTo>
                    <a:pt x="3635672" y="818236"/>
                    <a:pt x="3700150" y="753758"/>
                    <a:pt x="3700150" y="674220"/>
                  </a:cubicBezTo>
                  <a:cubicBezTo>
                    <a:pt x="3700150" y="594682"/>
                    <a:pt x="3635672" y="530204"/>
                    <a:pt x="3556134" y="530204"/>
                  </a:cubicBezTo>
                  <a:close/>
                  <a:moveTo>
                    <a:pt x="3146991" y="530204"/>
                  </a:moveTo>
                  <a:cubicBezTo>
                    <a:pt x="3067453" y="530204"/>
                    <a:pt x="3002975" y="594682"/>
                    <a:pt x="3002975" y="674220"/>
                  </a:cubicBezTo>
                  <a:cubicBezTo>
                    <a:pt x="3002975" y="753758"/>
                    <a:pt x="3067453" y="818236"/>
                    <a:pt x="3146991" y="818236"/>
                  </a:cubicBezTo>
                  <a:cubicBezTo>
                    <a:pt x="3226529" y="818236"/>
                    <a:pt x="3291007" y="753758"/>
                    <a:pt x="3291007" y="674220"/>
                  </a:cubicBezTo>
                  <a:cubicBezTo>
                    <a:pt x="3291007" y="594682"/>
                    <a:pt x="3226529" y="530204"/>
                    <a:pt x="3146991" y="530204"/>
                  </a:cubicBezTo>
                  <a:close/>
                  <a:moveTo>
                    <a:pt x="2737848" y="530204"/>
                  </a:moveTo>
                  <a:cubicBezTo>
                    <a:pt x="2658310" y="530204"/>
                    <a:pt x="2593832" y="594682"/>
                    <a:pt x="2593832" y="674220"/>
                  </a:cubicBezTo>
                  <a:cubicBezTo>
                    <a:pt x="2593832" y="753758"/>
                    <a:pt x="2658310" y="818236"/>
                    <a:pt x="2737848" y="818236"/>
                  </a:cubicBezTo>
                  <a:cubicBezTo>
                    <a:pt x="2817386" y="818236"/>
                    <a:pt x="2881864" y="753758"/>
                    <a:pt x="2881864" y="674220"/>
                  </a:cubicBezTo>
                  <a:cubicBezTo>
                    <a:pt x="2881864" y="594682"/>
                    <a:pt x="2817386" y="530204"/>
                    <a:pt x="2737848" y="530204"/>
                  </a:cubicBezTo>
                  <a:close/>
                  <a:moveTo>
                    <a:pt x="2328705" y="530204"/>
                  </a:moveTo>
                  <a:cubicBezTo>
                    <a:pt x="2249167" y="530204"/>
                    <a:pt x="2184689" y="594682"/>
                    <a:pt x="2184689" y="674220"/>
                  </a:cubicBezTo>
                  <a:cubicBezTo>
                    <a:pt x="2184689" y="753758"/>
                    <a:pt x="2249167" y="818236"/>
                    <a:pt x="2328705" y="818236"/>
                  </a:cubicBezTo>
                  <a:cubicBezTo>
                    <a:pt x="2408243" y="818236"/>
                    <a:pt x="2472721" y="753758"/>
                    <a:pt x="2472721" y="674220"/>
                  </a:cubicBezTo>
                  <a:cubicBezTo>
                    <a:pt x="2472721" y="594682"/>
                    <a:pt x="2408243" y="530204"/>
                    <a:pt x="2328705" y="530204"/>
                  </a:cubicBezTo>
                  <a:close/>
                  <a:moveTo>
                    <a:pt x="1919562" y="530204"/>
                  </a:moveTo>
                  <a:cubicBezTo>
                    <a:pt x="1840024" y="530204"/>
                    <a:pt x="1775546" y="594682"/>
                    <a:pt x="1775546" y="674220"/>
                  </a:cubicBezTo>
                  <a:cubicBezTo>
                    <a:pt x="1775546" y="753758"/>
                    <a:pt x="1840024" y="818236"/>
                    <a:pt x="1919562" y="818236"/>
                  </a:cubicBezTo>
                  <a:cubicBezTo>
                    <a:pt x="1999100" y="818236"/>
                    <a:pt x="2063578" y="753758"/>
                    <a:pt x="2063578" y="674220"/>
                  </a:cubicBezTo>
                  <a:cubicBezTo>
                    <a:pt x="2063578" y="594682"/>
                    <a:pt x="1999100" y="530204"/>
                    <a:pt x="1919562" y="530204"/>
                  </a:cubicBezTo>
                  <a:close/>
                  <a:moveTo>
                    <a:pt x="1510419" y="530204"/>
                  </a:moveTo>
                  <a:cubicBezTo>
                    <a:pt x="1430881" y="530204"/>
                    <a:pt x="1366403" y="594682"/>
                    <a:pt x="1366403" y="674220"/>
                  </a:cubicBezTo>
                  <a:cubicBezTo>
                    <a:pt x="1366403" y="753758"/>
                    <a:pt x="1430881" y="818236"/>
                    <a:pt x="1510419" y="818236"/>
                  </a:cubicBezTo>
                  <a:cubicBezTo>
                    <a:pt x="1589957" y="818236"/>
                    <a:pt x="1654435" y="753758"/>
                    <a:pt x="1654435" y="674220"/>
                  </a:cubicBezTo>
                  <a:cubicBezTo>
                    <a:pt x="1654435" y="594682"/>
                    <a:pt x="1589957" y="530204"/>
                    <a:pt x="1510419" y="530204"/>
                  </a:cubicBezTo>
                  <a:close/>
                  <a:moveTo>
                    <a:pt x="1101276" y="530204"/>
                  </a:moveTo>
                  <a:cubicBezTo>
                    <a:pt x="1021738" y="530204"/>
                    <a:pt x="957260" y="594682"/>
                    <a:pt x="957260" y="674220"/>
                  </a:cubicBezTo>
                  <a:cubicBezTo>
                    <a:pt x="957260" y="753758"/>
                    <a:pt x="1021738" y="818236"/>
                    <a:pt x="1101276" y="818236"/>
                  </a:cubicBezTo>
                  <a:cubicBezTo>
                    <a:pt x="1180814" y="818236"/>
                    <a:pt x="1245292" y="753758"/>
                    <a:pt x="1245292" y="674220"/>
                  </a:cubicBezTo>
                  <a:cubicBezTo>
                    <a:pt x="1245292" y="594682"/>
                    <a:pt x="1180814" y="530204"/>
                    <a:pt x="1101276" y="530204"/>
                  </a:cubicBezTo>
                  <a:close/>
                  <a:moveTo>
                    <a:pt x="692133" y="530204"/>
                  </a:moveTo>
                  <a:cubicBezTo>
                    <a:pt x="612595" y="530204"/>
                    <a:pt x="548117" y="594682"/>
                    <a:pt x="548117" y="674220"/>
                  </a:cubicBezTo>
                  <a:cubicBezTo>
                    <a:pt x="548117" y="753758"/>
                    <a:pt x="612595" y="818236"/>
                    <a:pt x="692133" y="818236"/>
                  </a:cubicBezTo>
                  <a:cubicBezTo>
                    <a:pt x="771671" y="818236"/>
                    <a:pt x="836149" y="753758"/>
                    <a:pt x="836149" y="674220"/>
                  </a:cubicBezTo>
                  <a:cubicBezTo>
                    <a:pt x="836149" y="594682"/>
                    <a:pt x="771671" y="530204"/>
                    <a:pt x="692133" y="530204"/>
                  </a:cubicBezTo>
                  <a:close/>
                  <a:moveTo>
                    <a:pt x="282990" y="530204"/>
                  </a:moveTo>
                  <a:cubicBezTo>
                    <a:pt x="203452" y="530204"/>
                    <a:pt x="138974" y="594682"/>
                    <a:pt x="138974" y="674220"/>
                  </a:cubicBezTo>
                  <a:cubicBezTo>
                    <a:pt x="138974" y="753758"/>
                    <a:pt x="203452" y="818236"/>
                    <a:pt x="282990" y="818236"/>
                  </a:cubicBezTo>
                  <a:cubicBezTo>
                    <a:pt x="362528" y="818236"/>
                    <a:pt x="427006" y="753758"/>
                    <a:pt x="427006" y="674220"/>
                  </a:cubicBezTo>
                  <a:cubicBezTo>
                    <a:pt x="427006" y="594682"/>
                    <a:pt x="362528" y="530204"/>
                    <a:pt x="282990" y="530204"/>
                  </a:cubicBezTo>
                  <a:close/>
                  <a:moveTo>
                    <a:pt x="3964576" y="114981"/>
                  </a:moveTo>
                  <a:cubicBezTo>
                    <a:pt x="3885038" y="114981"/>
                    <a:pt x="3820560" y="179459"/>
                    <a:pt x="3820560" y="258997"/>
                  </a:cubicBezTo>
                  <a:cubicBezTo>
                    <a:pt x="3820560" y="338535"/>
                    <a:pt x="3885038" y="403013"/>
                    <a:pt x="3964576" y="403013"/>
                  </a:cubicBezTo>
                  <a:cubicBezTo>
                    <a:pt x="4044114" y="403013"/>
                    <a:pt x="4108592" y="338535"/>
                    <a:pt x="4108592" y="258997"/>
                  </a:cubicBezTo>
                  <a:cubicBezTo>
                    <a:pt x="4108592" y="179459"/>
                    <a:pt x="4044114" y="114981"/>
                    <a:pt x="3964576" y="114981"/>
                  </a:cubicBezTo>
                  <a:close/>
                  <a:moveTo>
                    <a:pt x="3555434" y="114981"/>
                  </a:moveTo>
                  <a:cubicBezTo>
                    <a:pt x="3475896" y="114981"/>
                    <a:pt x="3411418" y="179459"/>
                    <a:pt x="3411418" y="258997"/>
                  </a:cubicBezTo>
                  <a:cubicBezTo>
                    <a:pt x="3411418" y="338535"/>
                    <a:pt x="3475896" y="403013"/>
                    <a:pt x="3555434" y="403013"/>
                  </a:cubicBezTo>
                  <a:cubicBezTo>
                    <a:pt x="3634972" y="403013"/>
                    <a:pt x="3699450" y="338535"/>
                    <a:pt x="3699450" y="258997"/>
                  </a:cubicBezTo>
                  <a:cubicBezTo>
                    <a:pt x="3699450" y="179459"/>
                    <a:pt x="3634972" y="114981"/>
                    <a:pt x="3555434" y="114981"/>
                  </a:cubicBezTo>
                  <a:close/>
                  <a:moveTo>
                    <a:pt x="3146291" y="114981"/>
                  </a:moveTo>
                  <a:cubicBezTo>
                    <a:pt x="3066753" y="114981"/>
                    <a:pt x="3002275" y="179459"/>
                    <a:pt x="3002275" y="258997"/>
                  </a:cubicBezTo>
                  <a:cubicBezTo>
                    <a:pt x="3002275" y="338535"/>
                    <a:pt x="3066753" y="403013"/>
                    <a:pt x="3146291" y="403013"/>
                  </a:cubicBezTo>
                  <a:cubicBezTo>
                    <a:pt x="3225829" y="403013"/>
                    <a:pt x="3290307" y="338535"/>
                    <a:pt x="3290307" y="258997"/>
                  </a:cubicBezTo>
                  <a:cubicBezTo>
                    <a:pt x="3290307" y="179459"/>
                    <a:pt x="3225829" y="114981"/>
                    <a:pt x="3146291" y="114981"/>
                  </a:cubicBezTo>
                  <a:close/>
                  <a:moveTo>
                    <a:pt x="2737148" y="114981"/>
                  </a:moveTo>
                  <a:cubicBezTo>
                    <a:pt x="2657610" y="114981"/>
                    <a:pt x="2593132" y="179459"/>
                    <a:pt x="2593132" y="258997"/>
                  </a:cubicBezTo>
                  <a:cubicBezTo>
                    <a:pt x="2593132" y="338535"/>
                    <a:pt x="2657610" y="403013"/>
                    <a:pt x="2737148" y="403013"/>
                  </a:cubicBezTo>
                  <a:cubicBezTo>
                    <a:pt x="2816686" y="403013"/>
                    <a:pt x="2881164" y="338535"/>
                    <a:pt x="2881164" y="258997"/>
                  </a:cubicBezTo>
                  <a:cubicBezTo>
                    <a:pt x="2881164" y="179459"/>
                    <a:pt x="2816686" y="114981"/>
                    <a:pt x="2737148" y="114981"/>
                  </a:cubicBezTo>
                  <a:close/>
                  <a:moveTo>
                    <a:pt x="2328005" y="114981"/>
                  </a:moveTo>
                  <a:cubicBezTo>
                    <a:pt x="2248467" y="114981"/>
                    <a:pt x="2183989" y="179459"/>
                    <a:pt x="2183989" y="258997"/>
                  </a:cubicBezTo>
                  <a:cubicBezTo>
                    <a:pt x="2183989" y="338535"/>
                    <a:pt x="2248467" y="403013"/>
                    <a:pt x="2328005" y="403013"/>
                  </a:cubicBezTo>
                  <a:cubicBezTo>
                    <a:pt x="2407543" y="403013"/>
                    <a:pt x="2472021" y="338535"/>
                    <a:pt x="2472021" y="258997"/>
                  </a:cubicBezTo>
                  <a:cubicBezTo>
                    <a:pt x="2472021" y="179459"/>
                    <a:pt x="2407543" y="114981"/>
                    <a:pt x="2328005" y="114981"/>
                  </a:cubicBezTo>
                  <a:close/>
                  <a:moveTo>
                    <a:pt x="1918862" y="114981"/>
                  </a:moveTo>
                  <a:cubicBezTo>
                    <a:pt x="1839324" y="114981"/>
                    <a:pt x="1774846" y="179459"/>
                    <a:pt x="1774846" y="258997"/>
                  </a:cubicBezTo>
                  <a:cubicBezTo>
                    <a:pt x="1774846" y="338535"/>
                    <a:pt x="1839324" y="403013"/>
                    <a:pt x="1918862" y="403013"/>
                  </a:cubicBezTo>
                  <a:cubicBezTo>
                    <a:pt x="1998400" y="403013"/>
                    <a:pt x="2062878" y="338535"/>
                    <a:pt x="2062878" y="258997"/>
                  </a:cubicBezTo>
                  <a:cubicBezTo>
                    <a:pt x="2062878" y="179459"/>
                    <a:pt x="1998400" y="114981"/>
                    <a:pt x="1918862" y="114981"/>
                  </a:cubicBezTo>
                  <a:close/>
                  <a:moveTo>
                    <a:pt x="1509719" y="114981"/>
                  </a:moveTo>
                  <a:cubicBezTo>
                    <a:pt x="1430181" y="114981"/>
                    <a:pt x="1365703" y="179459"/>
                    <a:pt x="1365703" y="258997"/>
                  </a:cubicBezTo>
                  <a:cubicBezTo>
                    <a:pt x="1365703" y="338535"/>
                    <a:pt x="1430181" y="403013"/>
                    <a:pt x="1509719" y="403013"/>
                  </a:cubicBezTo>
                  <a:cubicBezTo>
                    <a:pt x="1589257" y="403013"/>
                    <a:pt x="1653735" y="338535"/>
                    <a:pt x="1653735" y="258997"/>
                  </a:cubicBezTo>
                  <a:cubicBezTo>
                    <a:pt x="1653735" y="179459"/>
                    <a:pt x="1589257" y="114981"/>
                    <a:pt x="1509719" y="114981"/>
                  </a:cubicBezTo>
                  <a:close/>
                  <a:moveTo>
                    <a:pt x="1100576" y="114981"/>
                  </a:moveTo>
                  <a:cubicBezTo>
                    <a:pt x="1021038" y="114981"/>
                    <a:pt x="956560" y="179459"/>
                    <a:pt x="956560" y="258997"/>
                  </a:cubicBezTo>
                  <a:cubicBezTo>
                    <a:pt x="956560" y="338535"/>
                    <a:pt x="1021038" y="403013"/>
                    <a:pt x="1100576" y="403013"/>
                  </a:cubicBezTo>
                  <a:cubicBezTo>
                    <a:pt x="1180114" y="403013"/>
                    <a:pt x="1244592" y="338535"/>
                    <a:pt x="1244592" y="258997"/>
                  </a:cubicBezTo>
                  <a:cubicBezTo>
                    <a:pt x="1244592" y="179459"/>
                    <a:pt x="1180114" y="114981"/>
                    <a:pt x="1100576" y="114981"/>
                  </a:cubicBezTo>
                  <a:close/>
                  <a:moveTo>
                    <a:pt x="691433" y="114981"/>
                  </a:moveTo>
                  <a:cubicBezTo>
                    <a:pt x="611895" y="114981"/>
                    <a:pt x="547417" y="179459"/>
                    <a:pt x="547417" y="258997"/>
                  </a:cubicBezTo>
                  <a:cubicBezTo>
                    <a:pt x="547417" y="338535"/>
                    <a:pt x="611895" y="403013"/>
                    <a:pt x="691433" y="403013"/>
                  </a:cubicBezTo>
                  <a:cubicBezTo>
                    <a:pt x="770971" y="403013"/>
                    <a:pt x="835449" y="338535"/>
                    <a:pt x="835449" y="258997"/>
                  </a:cubicBezTo>
                  <a:cubicBezTo>
                    <a:pt x="835449" y="179459"/>
                    <a:pt x="770971" y="114981"/>
                    <a:pt x="691433" y="114981"/>
                  </a:cubicBezTo>
                  <a:close/>
                  <a:moveTo>
                    <a:pt x="282290" y="114981"/>
                  </a:moveTo>
                  <a:cubicBezTo>
                    <a:pt x="202752" y="114981"/>
                    <a:pt x="138274" y="179459"/>
                    <a:pt x="138274" y="258997"/>
                  </a:cubicBezTo>
                  <a:cubicBezTo>
                    <a:pt x="138274" y="338535"/>
                    <a:pt x="202752" y="403013"/>
                    <a:pt x="282290" y="403013"/>
                  </a:cubicBezTo>
                  <a:cubicBezTo>
                    <a:pt x="361828" y="403013"/>
                    <a:pt x="426306" y="338535"/>
                    <a:pt x="426306" y="258997"/>
                  </a:cubicBezTo>
                  <a:cubicBezTo>
                    <a:pt x="426306" y="179459"/>
                    <a:pt x="361828" y="114981"/>
                    <a:pt x="282290" y="114981"/>
                  </a:cubicBezTo>
                  <a:close/>
                  <a:moveTo>
                    <a:pt x="0" y="0"/>
                  </a:moveTo>
                  <a:lnTo>
                    <a:pt x="4248472" y="0"/>
                  </a:lnTo>
                  <a:lnTo>
                    <a:pt x="4248472" y="4248472"/>
                  </a:lnTo>
                  <a:lnTo>
                    <a:pt x="0" y="424847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p>
          </p:txBody>
        </p:sp>
      </p:grpSp>
      <p:grpSp>
        <p:nvGrpSpPr>
          <p:cNvPr id="17" name="Group 15">
            <a:extLst>
              <a:ext uri="{FF2B5EF4-FFF2-40B4-BE49-F238E27FC236}">
                <a16:creationId xmlns:a16="http://schemas.microsoft.com/office/drawing/2014/main" id="{2A9D359E-CE63-4264-9BE1-6DF425DE12B5}"/>
              </a:ext>
            </a:extLst>
          </p:cNvPr>
          <p:cNvGrpSpPr/>
          <p:nvPr/>
        </p:nvGrpSpPr>
        <p:grpSpPr>
          <a:xfrm>
            <a:off x="4223792" y="2613787"/>
            <a:ext cx="1440160" cy="1535293"/>
            <a:chOff x="244450" y="1414556"/>
            <a:chExt cx="2585095" cy="2585095"/>
          </a:xfrm>
        </p:grpSpPr>
        <p:graphicFrame>
          <p:nvGraphicFramePr>
            <p:cNvPr id="18" name="Chart 16">
              <a:extLst>
                <a:ext uri="{FF2B5EF4-FFF2-40B4-BE49-F238E27FC236}">
                  <a16:creationId xmlns:a16="http://schemas.microsoft.com/office/drawing/2014/main" id="{510F4C71-1725-4D64-9C9F-8E0DD7E6DF1F}"/>
                </a:ext>
              </a:extLst>
            </p:cNvPr>
            <p:cNvGraphicFramePr/>
            <p:nvPr>
              <p:extLst>
                <p:ext uri="{D42A27DB-BD31-4B8C-83A1-F6EECF244321}">
                  <p14:modId xmlns:p14="http://schemas.microsoft.com/office/powerpoint/2010/main" val="518682040"/>
                </p:ext>
              </p:extLst>
            </p:nvPr>
          </p:nvGraphicFramePr>
          <p:xfrm>
            <a:off x="309265" y="1418699"/>
            <a:ext cx="2519446" cy="2517158"/>
          </p:xfrm>
          <a:graphic>
            <a:graphicData uri="http://schemas.openxmlformats.org/drawingml/2006/chart">
              <c:chart xmlns:c="http://schemas.openxmlformats.org/drawingml/2006/chart" xmlns:r="http://schemas.openxmlformats.org/officeDocument/2006/relationships" r:id="rId4"/>
            </a:graphicData>
          </a:graphic>
        </p:graphicFrame>
        <p:sp>
          <p:nvSpPr>
            <p:cNvPr id="19" name="Rectangle 112">
              <a:extLst>
                <a:ext uri="{FF2B5EF4-FFF2-40B4-BE49-F238E27FC236}">
                  <a16:creationId xmlns:a16="http://schemas.microsoft.com/office/drawing/2014/main" id="{A49F691F-FEE7-4C90-80E7-D56F2BD13124}"/>
                </a:ext>
              </a:extLst>
            </p:cNvPr>
            <p:cNvSpPr/>
            <p:nvPr/>
          </p:nvSpPr>
          <p:spPr bwMode="gray">
            <a:xfrm>
              <a:off x="244450" y="1414556"/>
              <a:ext cx="2585095" cy="2585095"/>
            </a:xfrm>
            <a:custGeom>
              <a:avLst/>
              <a:gdLst/>
              <a:ahLst/>
              <a:cxnLst/>
              <a:rect l="l" t="t" r="r" b="b"/>
              <a:pathLst>
                <a:path w="4248472" h="4248472">
                  <a:moveTo>
                    <a:pt x="3963192" y="3851992"/>
                  </a:moveTo>
                  <a:cubicBezTo>
                    <a:pt x="3883654" y="3851992"/>
                    <a:pt x="3819176" y="3916470"/>
                    <a:pt x="3819176" y="3996008"/>
                  </a:cubicBezTo>
                  <a:cubicBezTo>
                    <a:pt x="3819176" y="4075546"/>
                    <a:pt x="3883654" y="4140024"/>
                    <a:pt x="3963192" y="4140024"/>
                  </a:cubicBezTo>
                  <a:cubicBezTo>
                    <a:pt x="4042730" y="4140024"/>
                    <a:pt x="4107208" y="4075546"/>
                    <a:pt x="4107208" y="3996008"/>
                  </a:cubicBezTo>
                  <a:cubicBezTo>
                    <a:pt x="4107208" y="3916470"/>
                    <a:pt x="4042730" y="3851992"/>
                    <a:pt x="3963192" y="3851992"/>
                  </a:cubicBezTo>
                  <a:close/>
                  <a:moveTo>
                    <a:pt x="3554050" y="3851992"/>
                  </a:moveTo>
                  <a:cubicBezTo>
                    <a:pt x="3474512" y="3851992"/>
                    <a:pt x="3410034" y="3916470"/>
                    <a:pt x="3410034" y="3996008"/>
                  </a:cubicBezTo>
                  <a:cubicBezTo>
                    <a:pt x="3410034" y="4075546"/>
                    <a:pt x="3474512" y="4140024"/>
                    <a:pt x="3554050" y="4140024"/>
                  </a:cubicBezTo>
                  <a:cubicBezTo>
                    <a:pt x="3633588" y="4140024"/>
                    <a:pt x="3698066" y="4075546"/>
                    <a:pt x="3698066" y="3996008"/>
                  </a:cubicBezTo>
                  <a:cubicBezTo>
                    <a:pt x="3698066" y="3916470"/>
                    <a:pt x="3633588" y="3851992"/>
                    <a:pt x="3554050" y="3851992"/>
                  </a:cubicBezTo>
                  <a:close/>
                  <a:moveTo>
                    <a:pt x="3144907" y="3851992"/>
                  </a:moveTo>
                  <a:cubicBezTo>
                    <a:pt x="3065369" y="3851992"/>
                    <a:pt x="3000891" y="3916470"/>
                    <a:pt x="3000891" y="3996008"/>
                  </a:cubicBezTo>
                  <a:cubicBezTo>
                    <a:pt x="3000891" y="4075546"/>
                    <a:pt x="3065369" y="4140024"/>
                    <a:pt x="3144907" y="4140024"/>
                  </a:cubicBezTo>
                  <a:cubicBezTo>
                    <a:pt x="3224445" y="4140024"/>
                    <a:pt x="3288923" y="4075546"/>
                    <a:pt x="3288923" y="3996008"/>
                  </a:cubicBezTo>
                  <a:cubicBezTo>
                    <a:pt x="3288923" y="3916470"/>
                    <a:pt x="3224445" y="3851992"/>
                    <a:pt x="3144907" y="3851992"/>
                  </a:cubicBezTo>
                  <a:close/>
                  <a:moveTo>
                    <a:pt x="2735764" y="3851992"/>
                  </a:moveTo>
                  <a:cubicBezTo>
                    <a:pt x="2656226" y="3851992"/>
                    <a:pt x="2591748" y="3916470"/>
                    <a:pt x="2591748" y="3996008"/>
                  </a:cubicBezTo>
                  <a:cubicBezTo>
                    <a:pt x="2591748" y="4075546"/>
                    <a:pt x="2656226" y="4140024"/>
                    <a:pt x="2735764" y="4140024"/>
                  </a:cubicBezTo>
                  <a:cubicBezTo>
                    <a:pt x="2815302" y="4140024"/>
                    <a:pt x="2879780" y="4075546"/>
                    <a:pt x="2879780" y="3996008"/>
                  </a:cubicBezTo>
                  <a:cubicBezTo>
                    <a:pt x="2879780" y="3916470"/>
                    <a:pt x="2815302" y="3851992"/>
                    <a:pt x="2735764" y="3851992"/>
                  </a:cubicBezTo>
                  <a:close/>
                  <a:moveTo>
                    <a:pt x="2326621" y="3851992"/>
                  </a:moveTo>
                  <a:cubicBezTo>
                    <a:pt x="2247083" y="3851992"/>
                    <a:pt x="2182605" y="3916470"/>
                    <a:pt x="2182605" y="3996008"/>
                  </a:cubicBezTo>
                  <a:cubicBezTo>
                    <a:pt x="2182605" y="4075546"/>
                    <a:pt x="2247083" y="4140024"/>
                    <a:pt x="2326621" y="4140024"/>
                  </a:cubicBezTo>
                  <a:cubicBezTo>
                    <a:pt x="2406159" y="4140024"/>
                    <a:pt x="2470637" y="4075546"/>
                    <a:pt x="2470637" y="3996008"/>
                  </a:cubicBezTo>
                  <a:cubicBezTo>
                    <a:pt x="2470637" y="3916470"/>
                    <a:pt x="2406159" y="3851992"/>
                    <a:pt x="2326621" y="3851992"/>
                  </a:cubicBezTo>
                  <a:close/>
                  <a:moveTo>
                    <a:pt x="1917478" y="3851992"/>
                  </a:moveTo>
                  <a:cubicBezTo>
                    <a:pt x="1837940" y="3851992"/>
                    <a:pt x="1773462" y="3916470"/>
                    <a:pt x="1773462" y="3996008"/>
                  </a:cubicBezTo>
                  <a:cubicBezTo>
                    <a:pt x="1773462" y="4075546"/>
                    <a:pt x="1837940" y="4140024"/>
                    <a:pt x="1917478" y="4140024"/>
                  </a:cubicBezTo>
                  <a:cubicBezTo>
                    <a:pt x="1997016" y="4140024"/>
                    <a:pt x="2061494" y="4075546"/>
                    <a:pt x="2061494" y="3996008"/>
                  </a:cubicBezTo>
                  <a:cubicBezTo>
                    <a:pt x="2061494" y="3916470"/>
                    <a:pt x="1997016" y="3851992"/>
                    <a:pt x="1917478" y="3851992"/>
                  </a:cubicBezTo>
                  <a:close/>
                  <a:moveTo>
                    <a:pt x="1508335" y="3851992"/>
                  </a:moveTo>
                  <a:cubicBezTo>
                    <a:pt x="1428797" y="3851992"/>
                    <a:pt x="1364319" y="3916470"/>
                    <a:pt x="1364319" y="3996008"/>
                  </a:cubicBezTo>
                  <a:cubicBezTo>
                    <a:pt x="1364319" y="4075546"/>
                    <a:pt x="1428797" y="4140024"/>
                    <a:pt x="1508335" y="4140024"/>
                  </a:cubicBezTo>
                  <a:cubicBezTo>
                    <a:pt x="1587873" y="4140024"/>
                    <a:pt x="1652351" y="4075546"/>
                    <a:pt x="1652351" y="3996008"/>
                  </a:cubicBezTo>
                  <a:cubicBezTo>
                    <a:pt x="1652351" y="3916470"/>
                    <a:pt x="1587873" y="3851992"/>
                    <a:pt x="1508335" y="3851992"/>
                  </a:cubicBezTo>
                  <a:close/>
                  <a:moveTo>
                    <a:pt x="1099192" y="3851992"/>
                  </a:moveTo>
                  <a:cubicBezTo>
                    <a:pt x="1019654" y="3851992"/>
                    <a:pt x="955176" y="3916470"/>
                    <a:pt x="955176" y="3996008"/>
                  </a:cubicBezTo>
                  <a:cubicBezTo>
                    <a:pt x="955176" y="4075546"/>
                    <a:pt x="1019654" y="4140024"/>
                    <a:pt x="1099192" y="4140024"/>
                  </a:cubicBezTo>
                  <a:cubicBezTo>
                    <a:pt x="1178730" y="4140024"/>
                    <a:pt x="1243208" y="4075546"/>
                    <a:pt x="1243208" y="3996008"/>
                  </a:cubicBezTo>
                  <a:cubicBezTo>
                    <a:pt x="1243208" y="3916470"/>
                    <a:pt x="1178730" y="3851992"/>
                    <a:pt x="1099192" y="3851992"/>
                  </a:cubicBezTo>
                  <a:close/>
                  <a:moveTo>
                    <a:pt x="690049" y="3851992"/>
                  </a:moveTo>
                  <a:cubicBezTo>
                    <a:pt x="610511" y="3851992"/>
                    <a:pt x="546033" y="3916470"/>
                    <a:pt x="546033" y="3996008"/>
                  </a:cubicBezTo>
                  <a:cubicBezTo>
                    <a:pt x="546033" y="4075546"/>
                    <a:pt x="610511" y="4140024"/>
                    <a:pt x="690049" y="4140024"/>
                  </a:cubicBezTo>
                  <a:cubicBezTo>
                    <a:pt x="769587" y="4140024"/>
                    <a:pt x="834065" y="4075546"/>
                    <a:pt x="834065" y="3996008"/>
                  </a:cubicBezTo>
                  <a:cubicBezTo>
                    <a:pt x="834065" y="3916470"/>
                    <a:pt x="769587" y="3851992"/>
                    <a:pt x="690049" y="3851992"/>
                  </a:cubicBezTo>
                  <a:close/>
                  <a:moveTo>
                    <a:pt x="280906" y="3851992"/>
                  </a:moveTo>
                  <a:cubicBezTo>
                    <a:pt x="201368" y="3851992"/>
                    <a:pt x="136890" y="3916470"/>
                    <a:pt x="136890" y="3996008"/>
                  </a:cubicBezTo>
                  <a:cubicBezTo>
                    <a:pt x="136890" y="4075546"/>
                    <a:pt x="201368" y="4140024"/>
                    <a:pt x="280906" y="4140024"/>
                  </a:cubicBezTo>
                  <a:cubicBezTo>
                    <a:pt x="360444" y="4140024"/>
                    <a:pt x="424922" y="4075546"/>
                    <a:pt x="424922" y="3996008"/>
                  </a:cubicBezTo>
                  <a:cubicBezTo>
                    <a:pt x="424922" y="3916470"/>
                    <a:pt x="360444" y="3851992"/>
                    <a:pt x="280906" y="3851992"/>
                  </a:cubicBezTo>
                  <a:close/>
                  <a:moveTo>
                    <a:pt x="3970176" y="3436765"/>
                  </a:moveTo>
                  <a:cubicBezTo>
                    <a:pt x="3890638" y="3436765"/>
                    <a:pt x="3826160" y="3501243"/>
                    <a:pt x="3826160" y="3580781"/>
                  </a:cubicBezTo>
                  <a:cubicBezTo>
                    <a:pt x="3826160" y="3660319"/>
                    <a:pt x="3890638" y="3724797"/>
                    <a:pt x="3970176" y="3724797"/>
                  </a:cubicBezTo>
                  <a:cubicBezTo>
                    <a:pt x="4049714" y="3724797"/>
                    <a:pt x="4114192" y="3660319"/>
                    <a:pt x="4114192" y="3580781"/>
                  </a:cubicBezTo>
                  <a:cubicBezTo>
                    <a:pt x="4114192" y="3501243"/>
                    <a:pt x="4049714" y="3436765"/>
                    <a:pt x="3970176" y="3436765"/>
                  </a:cubicBezTo>
                  <a:close/>
                  <a:moveTo>
                    <a:pt x="3561034" y="3436765"/>
                  </a:moveTo>
                  <a:cubicBezTo>
                    <a:pt x="3481496" y="3436765"/>
                    <a:pt x="3417018" y="3501243"/>
                    <a:pt x="3417018" y="3580781"/>
                  </a:cubicBezTo>
                  <a:cubicBezTo>
                    <a:pt x="3417018" y="3660319"/>
                    <a:pt x="3481496" y="3724797"/>
                    <a:pt x="3561034" y="3724797"/>
                  </a:cubicBezTo>
                  <a:cubicBezTo>
                    <a:pt x="3640572" y="3724797"/>
                    <a:pt x="3705050" y="3660319"/>
                    <a:pt x="3705050" y="3580781"/>
                  </a:cubicBezTo>
                  <a:cubicBezTo>
                    <a:pt x="3705050" y="3501243"/>
                    <a:pt x="3640572" y="3436765"/>
                    <a:pt x="3561034" y="3436765"/>
                  </a:cubicBezTo>
                  <a:close/>
                  <a:moveTo>
                    <a:pt x="3151891" y="3436765"/>
                  </a:moveTo>
                  <a:cubicBezTo>
                    <a:pt x="3072353" y="3436765"/>
                    <a:pt x="3007875" y="3501243"/>
                    <a:pt x="3007875" y="3580781"/>
                  </a:cubicBezTo>
                  <a:cubicBezTo>
                    <a:pt x="3007875" y="3660319"/>
                    <a:pt x="3072353" y="3724797"/>
                    <a:pt x="3151891" y="3724797"/>
                  </a:cubicBezTo>
                  <a:cubicBezTo>
                    <a:pt x="3231429" y="3724797"/>
                    <a:pt x="3295907" y="3660319"/>
                    <a:pt x="3295907" y="3580781"/>
                  </a:cubicBezTo>
                  <a:cubicBezTo>
                    <a:pt x="3295907" y="3501243"/>
                    <a:pt x="3231429" y="3436765"/>
                    <a:pt x="3151891" y="3436765"/>
                  </a:cubicBezTo>
                  <a:close/>
                  <a:moveTo>
                    <a:pt x="2742748" y="3436765"/>
                  </a:moveTo>
                  <a:cubicBezTo>
                    <a:pt x="2663210" y="3436765"/>
                    <a:pt x="2598732" y="3501243"/>
                    <a:pt x="2598732" y="3580781"/>
                  </a:cubicBezTo>
                  <a:cubicBezTo>
                    <a:pt x="2598732" y="3660319"/>
                    <a:pt x="2663210" y="3724797"/>
                    <a:pt x="2742748" y="3724797"/>
                  </a:cubicBezTo>
                  <a:cubicBezTo>
                    <a:pt x="2822286" y="3724797"/>
                    <a:pt x="2886764" y="3660319"/>
                    <a:pt x="2886764" y="3580781"/>
                  </a:cubicBezTo>
                  <a:cubicBezTo>
                    <a:pt x="2886764" y="3501243"/>
                    <a:pt x="2822286" y="3436765"/>
                    <a:pt x="2742748" y="3436765"/>
                  </a:cubicBezTo>
                  <a:close/>
                  <a:moveTo>
                    <a:pt x="2333605" y="3436765"/>
                  </a:moveTo>
                  <a:cubicBezTo>
                    <a:pt x="2254067" y="3436765"/>
                    <a:pt x="2189589" y="3501243"/>
                    <a:pt x="2189589" y="3580781"/>
                  </a:cubicBezTo>
                  <a:cubicBezTo>
                    <a:pt x="2189589" y="3660319"/>
                    <a:pt x="2254067" y="3724797"/>
                    <a:pt x="2333605" y="3724797"/>
                  </a:cubicBezTo>
                  <a:cubicBezTo>
                    <a:pt x="2413143" y="3724797"/>
                    <a:pt x="2477621" y="3660319"/>
                    <a:pt x="2477621" y="3580781"/>
                  </a:cubicBezTo>
                  <a:cubicBezTo>
                    <a:pt x="2477621" y="3501243"/>
                    <a:pt x="2413143" y="3436765"/>
                    <a:pt x="2333605" y="3436765"/>
                  </a:cubicBezTo>
                  <a:close/>
                  <a:moveTo>
                    <a:pt x="1924462" y="3436765"/>
                  </a:moveTo>
                  <a:cubicBezTo>
                    <a:pt x="1844924" y="3436765"/>
                    <a:pt x="1780446" y="3501243"/>
                    <a:pt x="1780446" y="3580781"/>
                  </a:cubicBezTo>
                  <a:cubicBezTo>
                    <a:pt x="1780446" y="3660319"/>
                    <a:pt x="1844924" y="3724797"/>
                    <a:pt x="1924462" y="3724797"/>
                  </a:cubicBezTo>
                  <a:cubicBezTo>
                    <a:pt x="2004000" y="3724797"/>
                    <a:pt x="2068478" y="3660319"/>
                    <a:pt x="2068478" y="3580781"/>
                  </a:cubicBezTo>
                  <a:cubicBezTo>
                    <a:pt x="2068478" y="3501243"/>
                    <a:pt x="2004000" y="3436765"/>
                    <a:pt x="1924462" y="3436765"/>
                  </a:cubicBezTo>
                  <a:close/>
                  <a:moveTo>
                    <a:pt x="1515319" y="3436765"/>
                  </a:moveTo>
                  <a:cubicBezTo>
                    <a:pt x="1435781" y="3436765"/>
                    <a:pt x="1371303" y="3501243"/>
                    <a:pt x="1371303" y="3580781"/>
                  </a:cubicBezTo>
                  <a:cubicBezTo>
                    <a:pt x="1371303" y="3660319"/>
                    <a:pt x="1435781" y="3724797"/>
                    <a:pt x="1515319" y="3724797"/>
                  </a:cubicBezTo>
                  <a:cubicBezTo>
                    <a:pt x="1594857" y="3724797"/>
                    <a:pt x="1659335" y="3660319"/>
                    <a:pt x="1659335" y="3580781"/>
                  </a:cubicBezTo>
                  <a:cubicBezTo>
                    <a:pt x="1659335" y="3501243"/>
                    <a:pt x="1594857" y="3436765"/>
                    <a:pt x="1515319" y="3436765"/>
                  </a:cubicBezTo>
                  <a:close/>
                  <a:moveTo>
                    <a:pt x="1106176" y="3436765"/>
                  </a:moveTo>
                  <a:cubicBezTo>
                    <a:pt x="1026638" y="3436765"/>
                    <a:pt x="962160" y="3501243"/>
                    <a:pt x="962160" y="3580781"/>
                  </a:cubicBezTo>
                  <a:cubicBezTo>
                    <a:pt x="962160" y="3660319"/>
                    <a:pt x="1026638" y="3724797"/>
                    <a:pt x="1106176" y="3724797"/>
                  </a:cubicBezTo>
                  <a:cubicBezTo>
                    <a:pt x="1185714" y="3724797"/>
                    <a:pt x="1250192" y="3660319"/>
                    <a:pt x="1250192" y="3580781"/>
                  </a:cubicBezTo>
                  <a:cubicBezTo>
                    <a:pt x="1250192" y="3501243"/>
                    <a:pt x="1185714" y="3436765"/>
                    <a:pt x="1106176" y="3436765"/>
                  </a:cubicBezTo>
                  <a:close/>
                  <a:moveTo>
                    <a:pt x="697033" y="3436765"/>
                  </a:moveTo>
                  <a:cubicBezTo>
                    <a:pt x="617495" y="3436765"/>
                    <a:pt x="553017" y="3501243"/>
                    <a:pt x="553017" y="3580781"/>
                  </a:cubicBezTo>
                  <a:cubicBezTo>
                    <a:pt x="553017" y="3660319"/>
                    <a:pt x="617495" y="3724797"/>
                    <a:pt x="697033" y="3724797"/>
                  </a:cubicBezTo>
                  <a:cubicBezTo>
                    <a:pt x="776571" y="3724797"/>
                    <a:pt x="841049" y="3660319"/>
                    <a:pt x="841049" y="3580781"/>
                  </a:cubicBezTo>
                  <a:cubicBezTo>
                    <a:pt x="841049" y="3501243"/>
                    <a:pt x="776571" y="3436765"/>
                    <a:pt x="697033" y="3436765"/>
                  </a:cubicBezTo>
                  <a:close/>
                  <a:moveTo>
                    <a:pt x="287890" y="3436765"/>
                  </a:moveTo>
                  <a:cubicBezTo>
                    <a:pt x="208352" y="3436765"/>
                    <a:pt x="143874" y="3501243"/>
                    <a:pt x="143874" y="3580781"/>
                  </a:cubicBezTo>
                  <a:cubicBezTo>
                    <a:pt x="143874" y="3660319"/>
                    <a:pt x="208352" y="3724797"/>
                    <a:pt x="287890" y="3724797"/>
                  </a:cubicBezTo>
                  <a:cubicBezTo>
                    <a:pt x="367428" y="3724797"/>
                    <a:pt x="431906" y="3660319"/>
                    <a:pt x="431906" y="3580781"/>
                  </a:cubicBezTo>
                  <a:cubicBezTo>
                    <a:pt x="431906" y="3501243"/>
                    <a:pt x="367428" y="3436765"/>
                    <a:pt x="287890" y="3436765"/>
                  </a:cubicBezTo>
                  <a:close/>
                  <a:moveTo>
                    <a:pt x="3969476" y="3021542"/>
                  </a:moveTo>
                  <a:cubicBezTo>
                    <a:pt x="3889938" y="3021542"/>
                    <a:pt x="3825460" y="3086020"/>
                    <a:pt x="3825460" y="3165558"/>
                  </a:cubicBezTo>
                  <a:cubicBezTo>
                    <a:pt x="3825460" y="3245096"/>
                    <a:pt x="3889938" y="3309574"/>
                    <a:pt x="3969476" y="3309574"/>
                  </a:cubicBezTo>
                  <a:cubicBezTo>
                    <a:pt x="4049014" y="3309574"/>
                    <a:pt x="4113492" y="3245096"/>
                    <a:pt x="4113492" y="3165558"/>
                  </a:cubicBezTo>
                  <a:cubicBezTo>
                    <a:pt x="4113492" y="3086020"/>
                    <a:pt x="4049014" y="3021542"/>
                    <a:pt x="3969476" y="3021542"/>
                  </a:cubicBezTo>
                  <a:close/>
                  <a:moveTo>
                    <a:pt x="3560334" y="3021542"/>
                  </a:moveTo>
                  <a:cubicBezTo>
                    <a:pt x="3480796" y="3021542"/>
                    <a:pt x="3416318" y="3086020"/>
                    <a:pt x="3416318" y="3165558"/>
                  </a:cubicBezTo>
                  <a:cubicBezTo>
                    <a:pt x="3416318" y="3245096"/>
                    <a:pt x="3480796" y="3309574"/>
                    <a:pt x="3560334" y="3309574"/>
                  </a:cubicBezTo>
                  <a:cubicBezTo>
                    <a:pt x="3639872" y="3309574"/>
                    <a:pt x="3704350" y="3245096"/>
                    <a:pt x="3704350" y="3165558"/>
                  </a:cubicBezTo>
                  <a:cubicBezTo>
                    <a:pt x="3704350" y="3086020"/>
                    <a:pt x="3639872" y="3021542"/>
                    <a:pt x="3560334" y="3021542"/>
                  </a:cubicBezTo>
                  <a:close/>
                  <a:moveTo>
                    <a:pt x="3151191" y="3021542"/>
                  </a:moveTo>
                  <a:cubicBezTo>
                    <a:pt x="3071653" y="3021542"/>
                    <a:pt x="3007175" y="3086020"/>
                    <a:pt x="3007175" y="3165558"/>
                  </a:cubicBezTo>
                  <a:cubicBezTo>
                    <a:pt x="3007175" y="3245096"/>
                    <a:pt x="3071653" y="3309574"/>
                    <a:pt x="3151191" y="3309574"/>
                  </a:cubicBezTo>
                  <a:cubicBezTo>
                    <a:pt x="3230729" y="3309574"/>
                    <a:pt x="3295207" y="3245096"/>
                    <a:pt x="3295207" y="3165558"/>
                  </a:cubicBezTo>
                  <a:cubicBezTo>
                    <a:pt x="3295207" y="3086020"/>
                    <a:pt x="3230729" y="3021542"/>
                    <a:pt x="3151191" y="3021542"/>
                  </a:cubicBezTo>
                  <a:close/>
                  <a:moveTo>
                    <a:pt x="2742048" y="3021542"/>
                  </a:moveTo>
                  <a:cubicBezTo>
                    <a:pt x="2662510" y="3021542"/>
                    <a:pt x="2598032" y="3086020"/>
                    <a:pt x="2598032" y="3165558"/>
                  </a:cubicBezTo>
                  <a:cubicBezTo>
                    <a:pt x="2598032" y="3245096"/>
                    <a:pt x="2662510" y="3309574"/>
                    <a:pt x="2742048" y="3309574"/>
                  </a:cubicBezTo>
                  <a:cubicBezTo>
                    <a:pt x="2821586" y="3309574"/>
                    <a:pt x="2886064" y="3245096"/>
                    <a:pt x="2886064" y="3165558"/>
                  </a:cubicBezTo>
                  <a:cubicBezTo>
                    <a:pt x="2886064" y="3086020"/>
                    <a:pt x="2821586" y="3021542"/>
                    <a:pt x="2742048" y="3021542"/>
                  </a:cubicBezTo>
                  <a:close/>
                  <a:moveTo>
                    <a:pt x="2332905" y="3021542"/>
                  </a:moveTo>
                  <a:cubicBezTo>
                    <a:pt x="2253367" y="3021542"/>
                    <a:pt x="2188889" y="3086020"/>
                    <a:pt x="2188889" y="3165558"/>
                  </a:cubicBezTo>
                  <a:cubicBezTo>
                    <a:pt x="2188889" y="3245096"/>
                    <a:pt x="2253367" y="3309574"/>
                    <a:pt x="2332905" y="3309574"/>
                  </a:cubicBezTo>
                  <a:cubicBezTo>
                    <a:pt x="2412443" y="3309574"/>
                    <a:pt x="2476921" y="3245096"/>
                    <a:pt x="2476921" y="3165558"/>
                  </a:cubicBezTo>
                  <a:cubicBezTo>
                    <a:pt x="2476921" y="3086020"/>
                    <a:pt x="2412443" y="3021542"/>
                    <a:pt x="2332905" y="3021542"/>
                  </a:cubicBezTo>
                  <a:close/>
                  <a:moveTo>
                    <a:pt x="1923762" y="3021542"/>
                  </a:moveTo>
                  <a:cubicBezTo>
                    <a:pt x="1844224" y="3021542"/>
                    <a:pt x="1779746" y="3086020"/>
                    <a:pt x="1779746" y="3165558"/>
                  </a:cubicBezTo>
                  <a:cubicBezTo>
                    <a:pt x="1779746" y="3245096"/>
                    <a:pt x="1844224" y="3309574"/>
                    <a:pt x="1923762" y="3309574"/>
                  </a:cubicBezTo>
                  <a:cubicBezTo>
                    <a:pt x="2003300" y="3309574"/>
                    <a:pt x="2067778" y="3245096"/>
                    <a:pt x="2067778" y="3165558"/>
                  </a:cubicBezTo>
                  <a:cubicBezTo>
                    <a:pt x="2067778" y="3086020"/>
                    <a:pt x="2003300" y="3021542"/>
                    <a:pt x="1923762" y="3021542"/>
                  </a:cubicBezTo>
                  <a:close/>
                  <a:moveTo>
                    <a:pt x="1514619" y="3021542"/>
                  </a:moveTo>
                  <a:cubicBezTo>
                    <a:pt x="1435081" y="3021542"/>
                    <a:pt x="1370603" y="3086020"/>
                    <a:pt x="1370603" y="3165558"/>
                  </a:cubicBezTo>
                  <a:cubicBezTo>
                    <a:pt x="1370603" y="3245096"/>
                    <a:pt x="1435081" y="3309574"/>
                    <a:pt x="1514619" y="3309574"/>
                  </a:cubicBezTo>
                  <a:cubicBezTo>
                    <a:pt x="1594157" y="3309574"/>
                    <a:pt x="1658635" y="3245096"/>
                    <a:pt x="1658635" y="3165558"/>
                  </a:cubicBezTo>
                  <a:cubicBezTo>
                    <a:pt x="1658635" y="3086020"/>
                    <a:pt x="1594157" y="3021542"/>
                    <a:pt x="1514619" y="3021542"/>
                  </a:cubicBezTo>
                  <a:close/>
                  <a:moveTo>
                    <a:pt x="1105476" y="3021542"/>
                  </a:moveTo>
                  <a:cubicBezTo>
                    <a:pt x="1025938" y="3021542"/>
                    <a:pt x="961460" y="3086020"/>
                    <a:pt x="961460" y="3165558"/>
                  </a:cubicBezTo>
                  <a:cubicBezTo>
                    <a:pt x="961460" y="3245096"/>
                    <a:pt x="1025938" y="3309574"/>
                    <a:pt x="1105476" y="3309574"/>
                  </a:cubicBezTo>
                  <a:cubicBezTo>
                    <a:pt x="1185014" y="3309574"/>
                    <a:pt x="1249492" y="3245096"/>
                    <a:pt x="1249492" y="3165558"/>
                  </a:cubicBezTo>
                  <a:cubicBezTo>
                    <a:pt x="1249492" y="3086020"/>
                    <a:pt x="1185014" y="3021542"/>
                    <a:pt x="1105476" y="3021542"/>
                  </a:cubicBezTo>
                  <a:close/>
                  <a:moveTo>
                    <a:pt x="696333" y="3021542"/>
                  </a:moveTo>
                  <a:cubicBezTo>
                    <a:pt x="616795" y="3021542"/>
                    <a:pt x="552317" y="3086020"/>
                    <a:pt x="552317" y="3165558"/>
                  </a:cubicBezTo>
                  <a:cubicBezTo>
                    <a:pt x="552317" y="3245096"/>
                    <a:pt x="616795" y="3309574"/>
                    <a:pt x="696333" y="3309574"/>
                  </a:cubicBezTo>
                  <a:cubicBezTo>
                    <a:pt x="775871" y="3309574"/>
                    <a:pt x="840349" y="3245096"/>
                    <a:pt x="840349" y="3165558"/>
                  </a:cubicBezTo>
                  <a:cubicBezTo>
                    <a:pt x="840349" y="3086020"/>
                    <a:pt x="775871" y="3021542"/>
                    <a:pt x="696333" y="3021542"/>
                  </a:cubicBezTo>
                  <a:close/>
                  <a:moveTo>
                    <a:pt x="287190" y="3021542"/>
                  </a:moveTo>
                  <a:cubicBezTo>
                    <a:pt x="207652" y="3021542"/>
                    <a:pt x="143174" y="3086020"/>
                    <a:pt x="143174" y="3165558"/>
                  </a:cubicBezTo>
                  <a:cubicBezTo>
                    <a:pt x="143174" y="3245096"/>
                    <a:pt x="207652" y="3309574"/>
                    <a:pt x="287190" y="3309574"/>
                  </a:cubicBezTo>
                  <a:cubicBezTo>
                    <a:pt x="366728" y="3309574"/>
                    <a:pt x="431206" y="3245096"/>
                    <a:pt x="431206" y="3165558"/>
                  </a:cubicBezTo>
                  <a:cubicBezTo>
                    <a:pt x="431206" y="3086020"/>
                    <a:pt x="366728" y="3021542"/>
                    <a:pt x="287190" y="3021542"/>
                  </a:cubicBezTo>
                  <a:close/>
                  <a:moveTo>
                    <a:pt x="3968776" y="2606319"/>
                  </a:moveTo>
                  <a:cubicBezTo>
                    <a:pt x="3889238" y="2606319"/>
                    <a:pt x="3824760" y="2670797"/>
                    <a:pt x="3824760" y="2750335"/>
                  </a:cubicBezTo>
                  <a:cubicBezTo>
                    <a:pt x="3824760" y="2829873"/>
                    <a:pt x="3889238" y="2894351"/>
                    <a:pt x="3968776" y="2894351"/>
                  </a:cubicBezTo>
                  <a:cubicBezTo>
                    <a:pt x="4048314" y="2894351"/>
                    <a:pt x="4112792" y="2829873"/>
                    <a:pt x="4112792" y="2750335"/>
                  </a:cubicBezTo>
                  <a:cubicBezTo>
                    <a:pt x="4112792" y="2670797"/>
                    <a:pt x="4048314" y="2606319"/>
                    <a:pt x="3968776" y="2606319"/>
                  </a:cubicBezTo>
                  <a:close/>
                  <a:moveTo>
                    <a:pt x="3559634" y="2606319"/>
                  </a:moveTo>
                  <a:cubicBezTo>
                    <a:pt x="3480096" y="2606319"/>
                    <a:pt x="3415618" y="2670797"/>
                    <a:pt x="3415618" y="2750335"/>
                  </a:cubicBezTo>
                  <a:cubicBezTo>
                    <a:pt x="3415618" y="2829873"/>
                    <a:pt x="3480096" y="2894351"/>
                    <a:pt x="3559634" y="2894351"/>
                  </a:cubicBezTo>
                  <a:cubicBezTo>
                    <a:pt x="3639172" y="2894351"/>
                    <a:pt x="3703650" y="2829873"/>
                    <a:pt x="3703650" y="2750335"/>
                  </a:cubicBezTo>
                  <a:cubicBezTo>
                    <a:pt x="3703650" y="2670797"/>
                    <a:pt x="3639172" y="2606319"/>
                    <a:pt x="3559634" y="2606319"/>
                  </a:cubicBezTo>
                  <a:close/>
                  <a:moveTo>
                    <a:pt x="3150491" y="2606319"/>
                  </a:moveTo>
                  <a:cubicBezTo>
                    <a:pt x="3070953" y="2606319"/>
                    <a:pt x="3006475" y="2670797"/>
                    <a:pt x="3006475" y="2750335"/>
                  </a:cubicBezTo>
                  <a:cubicBezTo>
                    <a:pt x="3006475" y="2829873"/>
                    <a:pt x="3070953" y="2894351"/>
                    <a:pt x="3150491" y="2894351"/>
                  </a:cubicBezTo>
                  <a:cubicBezTo>
                    <a:pt x="3230029" y="2894351"/>
                    <a:pt x="3294507" y="2829873"/>
                    <a:pt x="3294507" y="2750335"/>
                  </a:cubicBezTo>
                  <a:cubicBezTo>
                    <a:pt x="3294507" y="2670797"/>
                    <a:pt x="3230029" y="2606319"/>
                    <a:pt x="3150491" y="2606319"/>
                  </a:cubicBezTo>
                  <a:close/>
                  <a:moveTo>
                    <a:pt x="2741348" y="2606319"/>
                  </a:moveTo>
                  <a:cubicBezTo>
                    <a:pt x="2661810" y="2606319"/>
                    <a:pt x="2597332" y="2670797"/>
                    <a:pt x="2597332" y="2750335"/>
                  </a:cubicBezTo>
                  <a:cubicBezTo>
                    <a:pt x="2597332" y="2829873"/>
                    <a:pt x="2661810" y="2894351"/>
                    <a:pt x="2741348" y="2894351"/>
                  </a:cubicBezTo>
                  <a:cubicBezTo>
                    <a:pt x="2820886" y="2894351"/>
                    <a:pt x="2885364" y="2829873"/>
                    <a:pt x="2885364" y="2750335"/>
                  </a:cubicBezTo>
                  <a:cubicBezTo>
                    <a:pt x="2885364" y="2670797"/>
                    <a:pt x="2820886" y="2606319"/>
                    <a:pt x="2741348" y="2606319"/>
                  </a:cubicBezTo>
                  <a:close/>
                  <a:moveTo>
                    <a:pt x="2332205" y="2606319"/>
                  </a:moveTo>
                  <a:cubicBezTo>
                    <a:pt x="2252667" y="2606319"/>
                    <a:pt x="2188189" y="2670797"/>
                    <a:pt x="2188189" y="2750335"/>
                  </a:cubicBezTo>
                  <a:cubicBezTo>
                    <a:pt x="2188189" y="2829873"/>
                    <a:pt x="2252667" y="2894351"/>
                    <a:pt x="2332205" y="2894351"/>
                  </a:cubicBezTo>
                  <a:cubicBezTo>
                    <a:pt x="2411743" y="2894351"/>
                    <a:pt x="2476221" y="2829873"/>
                    <a:pt x="2476221" y="2750335"/>
                  </a:cubicBezTo>
                  <a:cubicBezTo>
                    <a:pt x="2476221" y="2670797"/>
                    <a:pt x="2411743" y="2606319"/>
                    <a:pt x="2332205" y="2606319"/>
                  </a:cubicBezTo>
                  <a:close/>
                  <a:moveTo>
                    <a:pt x="1923062" y="2606319"/>
                  </a:moveTo>
                  <a:cubicBezTo>
                    <a:pt x="1843524" y="2606319"/>
                    <a:pt x="1779046" y="2670797"/>
                    <a:pt x="1779046" y="2750335"/>
                  </a:cubicBezTo>
                  <a:cubicBezTo>
                    <a:pt x="1779046" y="2829873"/>
                    <a:pt x="1843524" y="2894351"/>
                    <a:pt x="1923062" y="2894351"/>
                  </a:cubicBezTo>
                  <a:cubicBezTo>
                    <a:pt x="2002600" y="2894351"/>
                    <a:pt x="2067078" y="2829873"/>
                    <a:pt x="2067078" y="2750335"/>
                  </a:cubicBezTo>
                  <a:cubicBezTo>
                    <a:pt x="2067078" y="2670797"/>
                    <a:pt x="2002600" y="2606319"/>
                    <a:pt x="1923062" y="2606319"/>
                  </a:cubicBezTo>
                  <a:close/>
                  <a:moveTo>
                    <a:pt x="1513919" y="2606319"/>
                  </a:moveTo>
                  <a:cubicBezTo>
                    <a:pt x="1434381" y="2606319"/>
                    <a:pt x="1369903" y="2670797"/>
                    <a:pt x="1369903" y="2750335"/>
                  </a:cubicBezTo>
                  <a:cubicBezTo>
                    <a:pt x="1369903" y="2829873"/>
                    <a:pt x="1434381" y="2894351"/>
                    <a:pt x="1513919" y="2894351"/>
                  </a:cubicBezTo>
                  <a:cubicBezTo>
                    <a:pt x="1593457" y="2894351"/>
                    <a:pt x="1657935" y="2829873"/>
                    <a:pt x="1657935" y="2750335"/>
                  </a:cubicBezTo>
                  <a:cubicBezTo>
                    <a:pt x="1657935" y="2670797"/>
                    <a:pt x="1593457" y="2606319"/>
                    <a:pt x="1513919" y="2606319"/>
                  </a:cubicBezTo>
                  <a:close/>
                  <a:moveTo>
                    <a:pt x="1104776" y="2606319"/>
                  </a:moveTo>
                  <a:cubicBezTo>
                    <a:pt x="1025238" y="2606319"/>
                    <a:pt x="960760" y="2670797"/>
                    <a:pt x="960760" y="2750335"/>
                  </a:cubicBezTo>
                  <a:cubicBezTo>
                    <a:pt x="960760" y="2829873"/>
                    <a:pt x="1025238" y="2894351"/>
                    <a:pt x="1104776" y="2894351"/>
                  </a:cubicBezTo>
                  <a:cubicBezTo>
                    <a:pt x="1184314" y="2894351"/>
                    <a:pt x="1248792" y="2829873"/>
                    <a:pt x="1248792" y="2750335"/>
                  </a:cubicBezTo>
                  <a:cubicBezTo>
                    <a:pt x="1248792" y="2670797"/>
                    <a:pt x="1184314" y="2606319"/>
                    <a:pt x="1104776" y="2606319"/>
                  </a:cubicBezTo>
                  <a:close/>
                  <a:moveTo>
                    <a:pt x="695633" y="2606319"/>
                  </a:moveTo>
                  <a:cubicBezTo>
                    <a:pt x="616095" y="2606319"/>
                    <a:pt x="551617" y="2670797"/>
                    <a:pt x="551617" y="2750335"/>
                  </a:cubicBezTo>
                  <a:cubicBezTo>
                    <a:pt x="551617" y="2829873"/>
                    <a:pt x="616095" y="2894351"/>
                    <a:pt x="695633" y="2894351"/>
                  </a:cubicBezTo>
                  <a:cubicBezTo>
                    <a:pt x="775171" y="2894351"/>
                    <a:pt x="839649" y="2829873"/>
                    <a:pt x="839649" y="2750335"/>
                  </a:cubicBezTo>
                  <a:cubicBezTo>
                    <a:pt x="839649" y="2670797"/>
                    <a:pt x="775171" y="2606319"/>
                    <a:pt x="695633" y="2606319"/>
                  </a:cubicBezTo>
                  <a:close/>
                  <a:moveTo>
                    <a:pt x="286490" y="2606319"/>
                  </a:moveTo>
                  <a:cubicBezTo>
                    <a:pt x="206952" y="2606319"/>
                    <a:pt x="142474" y="2670797"/>
                    <a:pt x="142474" y="2750335"/>
                  </a:cubicBezTo>
                  <a:cubicBezTo>
                    <a:pt x="142474" y="2829873"/>
                    <a:pt x="206952" y="2894351"/>
                    <a:pt x="286490" y="2894351"/>
                  </a:cubicBezTo>
                  <a:cubicBezTo>
                    <a:pt x="366028" y="2894351"/>
                    <a:pt x="430506" y="2829873"/>
                    <a:pt x="430506" y="2750335"/>
                  </a:cubicBezTo>
                  <a:cubicBezTo>
                    <a:pt x="430506" y="2670797"/>
                    <a:pt x="366028" y="2606319"/>
                    <a:pt x="286490" y="2606319"/>
                  </a:cubicBezTo>
                  <a:close/>
                  <a:moveTo>
                    <a:pt x="3968076" y="2191096"/>
                  </a:moveTo>
                  <a:cubicBezTo>
                    <a:pt x="3888538" y="2191096"/>
                    <a:pt x="3824060" y="2255574"/>
                    <a:pt x="3824060" y="2335112"/>
                  </a:cubicBezTo>
                  <a:cubicBezTo>
                    <a:pt x="3824060" y="2414650"/>
                    <a:pt x="3888538" y="2479128"/>
                    <a:pt x="3968076" y="2479128"/>
                  </a:cubicBezTo>
                  <a:cubicBezTo>
                    <a:pt x="4047614" y="2479128"/>
                    <a:pt x="4112092" y="2414650"/>
                    <a:pt x="4112092" y="2335112"/>
                  </a:cubicBezTo>
                  <a:cubicBezTo>
                    <a:pt x="4112092" y="2255574"/>
                    <a:pt x="4047614" y="2191096"/>
                    <a:pt x="3968076" y="2191096"/>
                  </a:cubicBezTo>
                  <a:close/>
                  <a:moveTo>
                    <a:pt x="3558934" y="2191096"/>
                  </a:moveTo>
                  <a:cubicBezTo>
                    <a:pt x="3479396" y="2191096"/>
                    <a:pt x="3414918" y="2255574"/>
                    <a:pt x="3414918" y="2335112"/>
                  </a:cubicBezTo>
                  <a:cubicBezTo>
                    <a:pt x="3414918" y="2414650"/>
                    <a:pt x="3479396" y="2479128"/>
                    <a:pt x="3558934" y="2479128"/>
                  </a:cubicBezTo>
                  <a:cubicBezTo>
                    <a:pt x="3638472" y="2479128"/>
                    <a:pt x="3702950" y="2414650"/>
                    <a:pt x="3702950" y="2335112"/>
                  </a:cubicBezTo>
                  <a:cubicBezTo>
                    <a:pt x="3702950" y="2255574"/>
                    <a:pt x="3638472" y="2191096"/>
                    <a:pt x="3558934" y="2191096"/>
                  </a:cubicBezTo>
                  <a:close/>
                  <a:moveTo>
                    <a:pt x="3149791" y="2191096"/>
                  </a:moveTo>
                  <a:cubicBezTo>
                    <a:pt x="3070253" y="2191096"/>
                    <a:pt x="3005775" y="2255574"/>
                    <a:pt x="3005775" y="2335112"/>
                  </a:cubicBezTo>
                  <a:cubicBezTo>
                    <a:pt x="3005775" y="2414650"/>
                    <a:pt x="3070253" y="2479128"/>
                    <a:pt x="3149791" y="2479128"/>
                  </a:cubicBezTo>
                  <a:cubicBezTo>
                    <a:pt x="3229329" y="2479128"/>
                    <a:pt x="3293807" y="2414650"/>
                    <a:pt x="3293807" y="2335112"/>
                  </a:cubicBezTo>
                  <a:cubicBezTo>
                    <a:pt x="3293807" y="2255574"/>
                    <a:pt x="3229329" y="2191096"/>
                    <a:pt x="3149791" y="2191096"/>
                  </a:cubicBezTo>
                  <a:close/>
                  <a:moveTo>
                    <a:pt x="2740648" y="2191096"/>
                  </a:moveTo>
                  <a:cubicBezTo>
                    <a:pt x="2661110" y="2191096"/>
                    <a:pt x="2596632" y="2255574"/>
                    <a:pt x="2596632" y="2335112"/>
                  </a:cubicBezTo>
                  <a:cubicBezTo>
                    <a:pt x="2596632" y="2414650"/>
                    <a:pt x="2661110" y="2479128"/>
                    <a:pt x="2740648" y="2479128"/>
                  </a:cubicBezTo>
                  <a:cubicBezTo>
                    <a:pt x="2820186" y="2479128"/>
                    <a:pt x="2884664" y="2414650"/>
                    <a:pt x="2884664" y="2335112"/>
                  </a:cubicBezTo>
                  <a:cubicBezTo>
                    <a:pt x="2884664" y="2255574"/>
                    <a:pt x="2820186" y="2191096"/>
                    <a:pt x="2740648" y="2191096"/>
                  </a:cubicBezTo>
                  <a:close/>
                  <a:moveTo>
                    <a:pt x="2331505" y="2191096"/>
                  </a:moveTo>
                  <a:cubicBezTo>
                    <a:pt x="2251967" y="2191096"/>
                    <a:pt x="2187489" y="2255574"/>
                    <a:pt x="2187489" y="2335112"/>
                  </a:cubicBezTo>
                  <a:cubicBezTo>
                    <a:pt x="2187489" y="2414650"/>
                    <a:pt x="2251967" y="2479128"/>
                    <a:pt x="2331505" y="2479128"/>
                  </a:cubicBezTo>
                  <a:cubicBezTo>
                    <a:pt x="2411043" y="2479128"/>
                    <a:pt x="2475521" y="2414650"/>
                    <a:pt x="2475521" y="2335112"/>
                  </a:cubicBezTo>
                  <a:cubicBezTo>
                    <a:pt x="2475521" y="2255574"/>
                    <a:pt x="2411043" y="2191096"/>
                    <a:pt x="2331505" y="2191096"/>
                  </a:cubicBezTo>
                  <a:close/>
                  <a:moveTo>
                    <a:pt x="1922362" y="2191096"/>
                  </a:moveTo>
                  <a:cubicBezTo>
                    <a:pt x="1842824" y="2191096"/>
                    <a:pt x="1778346" y="2255574"/>
                    <a:pt x="1778346" y="2335112"/>
                  </a:cubicBezTo>
                  <a:cubicBezTo>
                    <a:pt x="1778346" y="2414650"/>
                    <a:pt x="1842824" y="2479128"/>
                    <a:pt x="1922362" y="2479128"/>
                  </a:cubicBezTo>
                  <a:cubicBezTo>
                    <a:pt x="2001900" y="2479128"/>
                    <a:pt x="2066378" y="2414650"/>
                    <a:pt x="2066378" y="2335112"/>
                  </a:cubicBezTo>
                  <a:cubicBezTo>
                    <a:pt x="2066378" y="2255574"/>
                    <a:pt x="2001900" y="2191096"/>
                    <a:pt x="1922362" y="2191096"/>
                  </a:cubicBezTo>
                  <a:close/>
                  <a:moveTo>
                    <a:pt x="1513219" y="2191096"/>
                  </a:moveTo>
                  <a:cubicBezTo>
                    <a:pt x="1433681" y="2191096"/>
                    <a:pt x="1369203" y="2255574"/>
                    <a:pt x="1369203" y="2335112"/>
                  </a:cubicBezTo>
                  <a:cubicBezTo>
                    <a:pt x="1369203" y="2414650"/>
                    <a:pt x="1433681" y="2479128"/>
                    <a:pt x="1513219" y="2479128"/>
                  </a:cubicBezTo>
                  <a:cubicBezTo>
                    <a:pt x="1592757" y="2479128"/>
                    <a:pt x="1657235" y="2414650"/>
                    <a:pt x="1657235" y="2335112"/>
                  </a:cubicBezTo>
                  <a:cubicBezTo>
                    <a:pt x="1657235" y="2255574"/>
                    <a:pt x="1592757" y="2191096"/>
                    <a:pt x="1513219" y="2191096"/>
                  </a:cubicBezTo>
                  <a:close/>
                  <a:moveTo>
                    <a:pt x="1104076" y="2191096"/>
                  </a:moveTo>
                  <a:cubicBezTo>
                    <a:pt x="1024538" y="2191096"/>
                    <a:pt x="960060" y="2255574"/>
                    <a:pt x="960060" y="2335112"/>
                  </a:cubicBezTo>
                  <a:cubicBezTo>
                    <a:pt x="960060" y="2414650"/>
                    <a:pt x="1024538" y="2479128"/>
                    <a:pt x="1104076" y="2479128"/>
                  </a:cubicBezTo>
                  <a:cubicBezTo>
                    <a:pt x="1183614" y="2479128"/>
                    <a:pt x="1248092" y="2414650"/>
                    <a:pt x="1248092" y="2335112"/>
                  </a:cubicBezTo>
                  <a:cubicBezTo>
                    <a:pt x="1248092" y="2255574"/>
                    <a:pt x="1183614" y="2191096"/>
                    <a:pt x="1104076" y="2191096"/>
                  </a:cubicBezTo>
                  <a:close/>
                  <a:moveTo>
                    <a:pt x="694933" y="2191096"/>
                  </a:moveTo>
                  <a:cubicBezTo>
                    <a:pt x="615395" y="2191096"/>
                    <a:pt x="550917" y="2255574"/>
                    <a:pt x="550917" y="2335112"/>
                  </a:cubicBezTo>
                  <a:cubicBezTo>
                    <a:pt x="550917" y="2414650"/>
                    <a:pt x="615395" y="2479128"/>
                    <a:pt x="694933" y="2479128"/>
                  </a:cubicBezTo>
                  <a:cubicBezTo>
                    <a:pt x="774471" y="2479128"/>
                    <a:pt x="838949" y="2414650"/>
                    <a:pt x="838949" y="2335112"/>
                  </a:cubicBezTo>
                  <a:cubicBezTo>
                    <a:pt x="838949" y="2255574"/>
                    <a:pt x="774471" y="2191096"/>
                    <a:pt x="694933" y="2191096"/>
                  </a:cubicBezTo>
                  <a:close/>
                  <a:moveTo>
                    <a:pt x="285790" y="2191096"/>
                  </a:moveTo>
                  <a:cubicBezTo>
                    <a:pt x="206252" y="2191096"/>
                    <a:pt x="141774" y="2255574"/>
                    <a:pt x="141774" y="2335112"/>
                  </a:cubicBezTo>
                  <a:cubicBezTo>
                    <a:pt x="141774" y="2414650"/>
                    <a:pt x="206252" y="2479128"/>
                    <a:pt x="285790" y="2479128"/>
                  </a:cubicBezTo>
                  <a:cubicBezTo>
                    <a:pt x="365328" y="2479128"/>
                    <a:pt x="429806" y="2414650"/>
                    <a:pt x="429806" y="2335112"/>
                  </a:cubicBezTo>
                  <a:cubicBezTo>
                    <a:pt x="429806" y="2255574"/>
                    <a:pt x="365328" y="2191096"/>
                    <a:pt x="285790" y="2191096"/>
                  </a:cubicBezTo>
                  <a:close/>
                  <a:moveTo>
                    <a:pt x="3967376" y="1775873"/>
                  </a:moveTo>
                  <a:cubicBezTo>
                    <a:pt x="3887838" y="1775873"/>
                    <a:pt x="3823360" y="1840351"/>
                    <a:pt x="3823360" y="1919889"/>
                  </a:cubicBezTo>
                  <a:cubicBezTo>
                    <a:pt x="3823360" y="1999427"/>
                    <a:pt x="3887838" y="2063905"/>
                    <a:pt x="3967376" y="2063905"/>
                  </a:cubicBezTo>
                  <a:cubicBezTo>
                    <a:pt x="4046914" y="2063905"/>
                    <a:pt x="4111392" y="1999427"/>
                    <a:pt x="4111392" y="1919889"/>
                  </a:cubicBezTo>
                  <a:cubicBezTo>
                    <a:pt x="4111392" y="1840351"/>
                    <a:pt x="4046914" y="1775873"/>
                    <a:pt x="3967376" y="1775873"/>
                  </a:cubicBezTo>
                  <a:close/>
                  <a:moveTo>
                    <a:pt x="3558234" y="1775873"/>
                  </a:moveTo>
                  <a:cubicBezTo>
                    <a:pt x="3478696" y="1775873"/>
                    <a:pt x="3414218" y="1840351"/>
                    <a:pt x="3414218" y="1919889"/>
                  </a:cubicBezTo>
                  <a:cubicBezTo>
                    <a:pt x="3414218" y="1999427"/>
                    <a:pt x="3478696" y="2063905"/>
                    <a:pt x="3558234" y="2063905"/>
                  </a:cubicBezTo>
                  <a:cubicBezTo>
                    <a:pt x="3637772" y="2063905"/>
                    <a:pt x="3702250" y="1999427"/>
                    <a:pt x="3702250" y="1919889"/>
                  </a:cubicBezTo>
                  <a:cubicBezTo>
                    <a:pt x="3702250" y="1840351"/>
                    <a:pt x="3637772" y="1775873"/>
                    <a:pt x="3558234" y="1775873"/>
                  </a:cubicBezTo>
                  <a:close/>
                  <a:moveTo>
                    <a:pt x="3149091" y="1775873"/>
                  </a:moveTo>
                  <a:cubicBezTo>
                    <a:pt x="3069553" y="1775873"/>
                    <a:pt x="3005075" y="1840351"/>
                    <a:pt x="3005075" y="1919889"/>
                  </a:cubicBezTo>
                  <a:cubicBezTo>
                    <a:pt x="3005075" y="1999427"/>
                    <a:pt x="3069553" y="2063905"/>
                    <a:pt x="3149091" y="2063905"/>
                  </a:cubicBezTo>
                  <a:cubicBezTo>
                    <a:pt x="3228629" y="2063905"/>
                    <a:pt x="3293107" y="1999427"/>
                    <a:pt x="3293107" y="1919889"/>
                  </a:cubicBezTo>
                  <a:cubicBezTo>
                    <a:pt x="3293107" y="1840351"/>
                    <a:pt x="3228629" y="1775873"/>
                    <a:pt x="3149091" y="1775873"/>
                  </a:cubicBezTo>
                  <a:close/>
                  <a:moveTo>
                    <a:pt x="2739948" y="1775873"/>
                  </a:moveTo>
                  <a:cubicBezTo>
                    <a:pt x="2660410" y="1775873"/>
                    <a:pt x="2595932" y="1840351"/>
                    <a:pt x="2595932" y="1919889"/>
                  </a:cubicBezTo>
                  <a:cubicBezTo>
                    <a:pt x="2595932" y="1999427"/>
                    <a:pt x="2660410" y="2063905"/>
                    <a:pt x="2739948" y="2063905"/>
                  </a:cubicBezTo>
                  <a:cubicBezTo>
                    <a:pt x="2819486" y="2063905"/>
                    <a:pt x="2883964" y="1999427"/>
                    <a:pt x="2883964" y="1919889"/>
                  </a:cubicBezTo>
                  <a:cubicBezTo>
                    <a:pt x="2883964" y="1840351"/>
                    <a:pt x="2819486" y="1775873"/>
                    <a:pt x="2739948" y="1775873"/>
                  </a:cubicBezTo>
                  <a:close/>
                  <a:moveTo>
                    <a:pt x="2330805" y="1775873"/>
                  </a:moveTo>
                  <a:cubicBezTo>
                    <a:pt x="2251267" y="1775873"/>
                    <a:pt x="2186789" y="1840351"/>
                    <a:pt x="2186789" y="1919889"/>
                  </a:cubicBezTo>
                  <a:cubicBezTo>
                    <a:pt x="2186789" y="1999427"/>
                    <a:pt x="2251267" y="2063905"/>
                    <a:pt x="2330805" y="2063905"/>
                  </a:cubicBezTo>
                  <a:cubicBezTo>
                    <a:pt x="2410343" y="2063905"/>
                    <a:pt x="2474821" y="1999427"/>
                    <a:pt x="2474821" y="1919889"/>
                  </a:cubicBezTo>
                  <a:cubicBezTo>
                    <a:pt x="2474821" y="1840351"/>
                    <a:pt x="2410343" y="1775873"/>
                    <a:pt x="2330805" y="1775873"/>
                  </a:cubicBezTo>
                  <a:close/>
                  <a:moveTo>
                    <a:pt x="1921662" y="1775873"/>
                  </a:moveTo>
                  <a:cubicBezTo>
                    <a:pt x="1842124" y="1775873"/>
                    <a:pt x="1777646" y="1840351"/>
                    <a:pt x="1777646" y="1919889"/>
                  </a:cubicBezTo>
                  <a:cubicBezTo>
                    <a:pt x="1777646" y="1999427"/>
                    <a:pt x="1842124" y="2063905"/>
                    <a:pt x="1921662" y="2063905"/>
                  </a:cubicBezTo>
                  <a:cubicBezTo>
                    <a:pt x="2001200" y="2063905"/>
                    <a:pt x="2065678" y="1999427"/>
                    <a:pt x="2065678" y="1919889"/>
                  </a:cubicBezTo>
                  <a:cubicBezTo>
                    <a:pt x="2065678" y="1840351"/>
                    <a:pt x="2001200" y="1775873"/>
                    <a:pt x="1921662" y="1775873"/>
                  </a:cubicBezTo>
                  <a:close/>
                  <a:moveTo>
                    <a:pt x="1512519" y="1775873"/>
                  </a:moveTo>
                  <a:cubicBezTo>
                    <a:pt x="1432981" y="1775873"/>
                    <a:pt x="1368503" y="1840351"/>
                    <a:pt x="1368503" y="1919889"/>
                  </a:cubicBezTo>
                  <a:cubicBezTo>
                    <a:pt x="1368503" y="1999427"/>
                    <a:pt x="1432981" y="2063905"/>
                    <a:pt x="1512519" y="2063905"/>
                  </a:cubicBezTo>
                  <a:cubicBezTo>
                    <a:pt x="1592057" y="2063905"/>
                    <a:pt x="1656535" y="1999427"/>
                    <a:pt x="1656535" y="1919889"/>
                  </a:cubicBezTo>
                  <a:cubicBezTo>
                    <a:pt x="1656535" y="1840351"/>
                    <a:pt x="1592057" y="1775873"/>
                    <a:pt x="1512519" y="1775873"/>
                  </a:cubicBezTo>
                  <a:close/>
                  <a:moveTo>
                    <a:pt x="1103376" y="1775873"/>
                  </a:moveTo>
                  <a:cubicBezTo>
                    <a:pt x="1023838" y="1775873"/>
                    <a:pt x="959360" y="1840351"/>
                    <a:pt x="959360" y="1919889"/>
                  </a:cubicBezTo>
                  <a:cubicBezTo>
                    <a:pt x="959360" y="1999427"/>
                    <a:pt x="1023838" y="2063905"/>
                    <a:pt x="1103376" y="2063905"/>
                  </a:cubicBezTo>
                  <a:cubicBezTo>
                    <a:pt x="1182914" y="2063905"/>
                    <a:pt x="1247392" y="1999427"/>
                    <a:pt x="1247392" y="1919889"/>
                  </a:cubicBezTo>
                  <a:cubicBezTo>
                    <a:pt x="1247392" y="1840351"/>
                    <a:pt x="1182914" y="1775873"/>
                    <a:pt x="1103376" y="1775873"/>
                  </a:cubicBezTo>
                  <a:close/>
                  <a:moveTo>
                    <a:pt x="694233" y="1775873"/>
                  </a:moveTo>
                  <a:cubicBezTo>
                    <a:pt x="614695" y="1775873"/>
                    <a:pt x="550217" y="1840351"/>
                    <a:pt x="550217" y="1919889"/>
                  </a:cubicBezTo>
                  <a:cubicBezTo>
                    <a:pt x="550217" y="1999427"/>
                    <a:pt x="614695" y="2063905"/>
                    <a:pt x="694233" y="2063905"/>
                  </a:cubicBezTo>
                  <a:cubicBezTo>
                    <a:pt x="773771" y="2063905"/>
                    <a:pt x="838249" y="1999427"/>
                    <a:pt x="838249" y="1919889"/>
                  </a:cubicBezTo>
                  <a:cubicBezTo>
                    <a:pt x="838249" y="1840351"/>
                    <a:pt x="773771" y="1775873"/>
                    <a:pt x="694233" y="1775873"/>
                  </a:cubicBezTo>
                  <a:close/>
                  <a:moveTo>
                    <a:pt x="285090" y="1775873"/>
                  </a:moveTo>
                  <a:cubicBezTo>
                    <a:pt x="205552" y="1775873"/>
                    <a:pt x="141074" y="1840351"/>
                    <a:pt x="141074" y="1919889"/>
                  </a:cubicBezTo>
                  <a:cubicBezTo>
                    <a:pt x="141074" y="1999427"/>
                    <a:pt x="205552" y="2063905"/>
                    <a:pt x="285090" y="2063905"/>
                  </a:cubicBezTo>
                  <a:cubicBezTo>
                    <a:pt x="364628" y="2063905"/>
                    <a:pt x="429106" y="1999427"/>
                    <a:pt x="429106" y="1919889"/>
                  </a:cubicBezTo>
                  <a:cubicBezTo>
                    <a:pt x="429106" y="1840351"/>
                    <a:pt x="364628" y="1775873"/>
                    <a:pt x="285090" y="1775873"/>
                  </a:cubicBezTo>
                  <a:close/>
                  <a:moveTo>
                    <a:pt x="3966676" y="1360650"/>
                  </a:moveTo>
                  <a:cubicBezTo>
                    <a:pt x="3887138" y="1360650"/>
                    <a:pt x="3822660" y="1425128"/>
                    <a:pt x="3822660" y="1504666"/>
                  </a:cubicBezTo>
                  <a:cubicBezTo>
                    <a:pt x="3822660" y="1584204"/>
                    <a:pt x="3887138" y="1648682"/>
                    <a:pt x="3966676" y="1648682"/>
                  </a:cubicBezTo>
                  <a:cubicBezTo>
                    <a:pt x="4046214" y="1648682"/>
                    <a:pt x="4110692" y="1584204"/>
                    <a:pt x="4110692" y="1504666"/>
                  </a:cubicBezTo>
                  <a:cubicBezTo>
                    <a:pt x="4110692" y="1425128"/>
                    <a:pt x="4046214" y="1360650"/>
                    <a:pt x="3966676" y="1360650"/>
                  </a:cubicBezTo>
                  <a:close/>
                  <a:moveTo>
                    <a:pt x="3557534" y="1360650"/>
                  </a:moveTo>
                  <a:cubicBezTo>
                    <a:pt x="3477996" y="1360650"/>
                    <a:pt x="3413518" y="1425128"/>
                    <a:pt x="3413518" y="1504666"/>
                  </a:cubicBezTo>
                  <a:cubicBezTo>
                    <a:pt x="3413518" y="1584204"/>
                    <a:pt x="3477996" y="1648682"/>
                    <a:pt x="3557534" y="1648682"/>
                  </a:cubicBezTo>
                  <a:cubicBezTo>
                    <a:pt x="3637072" y="1648682"/>
                    <a:pt x="3701550" y="1584204"/>
                    <a:pt x="3701550" y="1504666"/>
                  </a:cubicBezTo>
                  <a:cubicBezTo>
                    <a:pt x="3701550" y="1425128"/>
                    <a:pt x="3637072" y="1360650"/>
                    <a:pt x="3557534" y="1360650"/>
                  </a:cubicBezTo>
                  <a:close/>
                  <a:moveTo>
                    <a:pt x="3148391" y="1360650"/>
                  </a:moveTo>
                  <a:cubicBezTo>
                    <a:pt x="3068853" y="1360650"/>
                    <a:pt x="3004375" y="1425128"/>
                    <a:pt x="3004375" y="1504666"/>
                  </a:cubicBezTo>
                  <a:cubicBezTo>
                    <a:pt x="3004375" y="1584204"/>
                    <a:pt x="3068853" y="1648682"/>
                    <a:pt x="3148391" y="1648682"/>
                  </a:cubicBezTo>
                  <a:cubicBezTo>
                    <a:pt x="3227929" y="1648682"/>
                    <a:pt x="3292407" y="1584204"/>
                    <a:pt x="3292407" y="1504666"/>
                  </a:cubicBezTo>
                  <a:cubicBezTo>
                    <a:pt x="3292407" y="1425128"/>
                    <a:pt x="3227929" y="1360650"/>
                    <a:pt x="3148391" y="1360650"/>
                  </a:cubicBezTo>
                  <a:close/>
                  <a:moveTo>
                    <a:pt x="2739248" y="1360650"/>
                  </a:moveTo>
                  <a:cubicBezTo>
                    <a:pt x="2659710" y="1360650"/>
                    <a:pt x="2595232" y="1425128"/>
                    <a:pt x="2595232" y="1504666"/>
                  </a:cubicBezTo>
                  <a:cubicBezTo>
                    <a:pt x="2595232" y="1584204"/>
                    <a:pt x="2659710" y="1648682"/>
                    <a:pt x="2739248" y="1648682"/>
                  </a:cubicBezTo>
                  <a:cubicBezTo>
                    <a:pt x="2818786" y="1648682"/>
                    <a:pt x="2883264" y="1584204"/>
                    <a:pt x="2883264" y="1504666"/>
                  </a:cubicBezTo>
                  <a:cubicBezTo>
                    <a:pt x="2883264" y="1425128"/>
                    <a:pt x="2818786" y="1360650"/>
                    <a:pt x="2739248" y="1360650"/>
                  </a:cubicBezTo>
                  <a:close/>
                  <a:moveTo>
                    <a:pt x="2330105" y="1360650"/>
                  </a:moveTo>
                  <a:cubicBezTo>
                    <a:pt x="2250567" y="1360650"/>
                    <a:pt x="2186089" y="1425128"/>
                    <a:pt x="2186089" y="1504666"/>
                  </a:cubicBezTo>
                  <a:cubicBezTo>
                    <a:pt x="2186089" y="1584204"/>
                    <a:pt x="2250567" y="1648682"/>
                    <a:pt x="2330105" y="1648682"/>
                  </a:cubicBezTo>
                  <a:cubicBezTo>
                    <a:pt x="2409643" y="1648682"/>
                    <a:pt x="2474121" y="1584204"/>
                    <a:pt x="2474121" y="1504666"/>
                  </a:cubicBezTo>
                  <a:cubicBezTo>
                    <a:pt x="2474121" y="1425128"/>
                    <a:pt x="2409643" y="1360650"/>
                    <a:pt x="2330105" y="1360650"/>
                  </a:cubicBezTo>
                  <a:close/>
                  <a:moveTo>
                    <a:pt x="1920962" y="1360650"/>
                  </a:moveTo>
                  <a:cubicBezTo>
                    <a:pt x="1841424" y="1360650"/>
                    <a:pt x="1776946" y="1425128"/>
                    <a:pt x="1776946" y="1504666"/>
                  </a:cubicBezTo>
                  <a:cubicBezTo>
                    <a:pt x="1776946" y="1584204"/>
                    <a:pt x="1841424" y="1648682"/>
                    <a:pt x="1920962" y="1648682"/>
                  </a:cubicBezTo>
                  <a:cubicBezTo>
                    <a:pt x="2000500" y="1648682"/>
                    <a:pt x="2064978" y="1584204"/>
                    <a:pt x="2064978" y="1504666"/>
                  </a:cubicBezTo>
                  <a:cubicBezTo>
                    <a:pt x="2064978" y="1425128"/>
                    <a:pt x="2000500" y="1360650"/>
                    <a:pt x="1920962" y="1360650"/>
                  </a:cubicBezTo>
                  <a:close/>
                  <a:moveTo>
                    <a:pt x="1511819" y="1360650"/>
                  </a:moveTo>
                  <a:cubicBezTo>
                    <a:pt x="1432281" y="1360650"/>
                    <a:pt x="1367803" y="1425128"/>
                    <a:pt x="1367803" y="1504666"/>
                  </a:cubicBezTo>
                  <a:cubicBezTo>
                    <a:pt x="1367803" y="1584204"/>
                    <a:pt x="1432281" y="1648682"/>
                    <a:pt x="1511819" y="1648682"/>
                  </a:cubicBezTo>
                  <a:cubicBezTo>
                    <a:pt x="1591357" y="1648682"/>
                    <a:pt x="1655835" y="1584204"/>
                    <a:pt x="1655835" y="1504666"/>
                  </a:cubicBezTo>
                  <a:cubicBezTo>
                    <a:pt x="1655835" y="1425128"/>
                    <a:pt x="1591357" y="1360650"/>
                    <a:pt x="1511819" y="1360650"/>
                  </a:cubicBezTo>
                  <a:close/>
                  <a:moveTo>
                    <a:pt x="1102676" y="1360650"/>
                  </a:moveTo>
                  <a:cubicBezTo>
                    <a:pt x="1023138" y="1360650"/>
                    <a:pt x="958660" y="1425128"/>
                    <a:pt x="958660" y="1504666"/>
                  </a:cubicBezTo>
                  <a:cubicBezTo>
                    <a:pt x="958660" y="1584204"/>
                    <a:pt x="1023138" y="1648682"/>
                    <a:pt x="1102676" y="1648682"/>
                  </a:cubicBezTo>
                  <a:cubicBezTo>
                    <a:pt x="1182214" y="1648682"/>
                    <a:pt x="1246692" y="1584204"/>
                    <a:pt x="1246692" y="1504666"/>
                  </a:cubicBezTo>
                  <a:cubicBezTo>
                    <a:pt x="1246692" y="1425128"/>
                    <a:pt x="1182214" y="1360650"/>
                    <a:pt x="1102676" y="1360650"/>
                  </a:cubicBezTo>
                  <a:close/>
                  <a:moveTo>
                    <a:pt x="693533" y="1360650"/>
                  </a:moveTo>
                  <a:cubicBezTo>
                    <a:pt x="613995" y="1360650"/>
                    <a:pt x="549517" y="1425128"/>
                    <a:pt x="549517" y="1504666"/>
                  </a:cubicBezTo>
                  <a:cubicBezTo>
                    <a:pt x="549517" y="1584204"/>
                    <a:pt x="613995" y="1648682"/>
                    <a:pt x="693533" y="1648682"/>
                  </a:cubicBezTo>
                  <a:cubicBezTo>
                    <a:pt x="773071" y="1648682"/>
                    <a:pt x="837549" y="1584204"/>
                    <a:pt x="837549" y="1504666"/>
                  </a:cubicBezTo>
                  <a:cubicBezTo>
                    <a:pt x="837549" y="1425128"/>
                    <a:pt x="773071" y="1360650"/>
                    <a:pt x="693533" y="1360650"/>
                  </a:cubicBezTo>
                  <a:close/>
                  <a:moveTo>
                    <a:pt x="284390" y="1360650"/>
                  </a:moveTo>
                  <a:cubicBezTo>
                    <a:pt x="204852" y="1360650"/>
                    <a:pt x="140374" y="1425128"/>
                    <a:pt x="140374" y="1504666"/>
                  </a:cubicBezTo>
                  <a:cubicBezTo>
                    <a:pt x="140374" y="1584204"/>
                    <a:pt x="204852" y="1648682"/>
                    <a:pt x="284390" y="1648682"/>
                  </a:cubicBezTo>
                  <a:cubicBezTo>
                    <a:pt x="363928" y="1648682"/>
                    <a:pt x="428406" y="1584204"/>
                    <a:pt x="428406" y="1504666"/>
                  </a:cubicBezTo>
                  <a:cubicBezTo>
                    <a:pt x="428406" y="1425128"/>
                    <a:pt x="363928" y="1360650"/>
                    <a:pt x="284390" y="1360650"/>
                  </a:cubicBezTo>
                  <a:close/>
                  <a:moveTo>
                    <a:pt x="3965976" y="945427"/>
                  </a:moveTo>
                  <a:cubicBezTo>
                    <a:pt x="3886438" y="945427"/>
                    <a:pt x="3821960" y="1009905"/>
                    <a:pt x="3821960" y="1089443"/>
                  </a:cubicBezTo>
                  <a:cubicBezTo>
                    <a:pt x="3821960" y="1168981"/>
                    <a:pt x="3886438" y="1233459"/>
                    <a:pt x="3965976" y="1233459"/>
                  </a:cubicBezTo>
                  <a:cubicBezTo>
                    <a:pt x="4045514" y="1233459"/>
                    <a:pt x="4109992" y="1168981"/>
                    <a:pt x="4109992" y="1089443"/>
                  </a:cubicBezTo>
                  <a:cubicBezTo>
                    <a:pt x="4109992" y="1009905"/>
                    <a:pt x="4045514" y="945427"/>
                    <a:pt x="3965976" y="945427"/>
                  </a:cubicBezTo>
                  <a:close/>
                  <a:moveTo>
                    <a:pt x="3556834" y="945427"/>
                  </a:moveTo>
                  <a:cubicBezTo>
                    <a:pt x="3477296" y="945427"/>
                    <a:pt x="3412818" y="1009905"/>
                    <a:pt x="3412818" y="1089443"/>
                  </a:cubicBezTo>
                  <a:cubicBezTo>
                    <a:pt x="3412818" y="1168981"/>
                    <a:pt x="3477296" y="1233459"/>
                    <a:pt x="3556834" y="1233459"/>
                  </a:cubicBezTo>
                  <a:cubicBezTo>
                    <a:pt x="3636372" y="1233459"/>
                    <a:pt x="3700850" y="1168981"/>
                    <a:pt x="3700850" y="1089443"/>
                  </a:cubicBezTo>
                  <a:cubicBezTo>
                    <a:pt x="3700850" y="1009905"/>
                    <a:pt x="3636372" y="945427"/>
                    <a:pt x="3556834" y="945427"/>
                  </a:cubicBezTo>
                  <a:close/>
                  <a:moveTo>
                    <a:pt x="3147691" y="945427"/>
                  </a:moveTo>
                  <a:cubicBezTo>
                    <a:pt x="3068153" y="945427"/>
                    <a:pt x="3003675" y="1009905"/>
                    <a:pt x="3003675" y="1089443"/>
                  </a:cubicBezTo>
                  <a:cubicBezTo>
                    <a:pt x="3003675" y="1168981"/>
                    <a:pt x="3068153" y="1233459"/>
                    <a:pt x="3147691" y="1233459"/>
                  </a:cubicBezTo>
                  <a:cubicBezTo>
                    <a:pt x="3227229" y="1233459"/>
                    <a:pt x="3291707" y="1168981"/>
                    <a:pt x="3291707" y="1089443"/>
                  </a:cubicBezTo>
                  <a:cubicBezTo>
                    <a:pt x="3291707" y="1009905"/>
                    <a:pt x="3227229" y="945427"/>
                    <a:pt x="3147691" y="945427"/>
                  </a:cubicBezTo>
                  <a:close/>
                  <a:moveTo>
                    <a:pt x="2738548" y="945427"/>
                  </a:moveTo>
                  <a:cubicBezTo>
                    <a:pt x="2659010" y="945427"/>
                    <a:pt x="2594532" y="1009905"/>
                    <a:pt x="2594532" y="1089443"/>
                  </a:cubicBezTo>
                  <a:cubicBezTo>
                    <a:pt x="2594532" y="1168981"/>
                    <a:pt x="2659010" y="1233459"/>
                    <a:pt x="2738548" y="1233459"/>
                  </a:cubicBezTo>
                  <a:cubicBezTo>
                    <a:pt x="2818086" y="1233459"/>
                    <a:pt x="2882564" y="1168981"/>
                    <a:pt x="2882564" y="1089443"/>
                  </a:cubicBezTo>
                  <a:cubicBezTo>
                    <a:pt x="2882564" y="1009905"/>
                    <a:pt x="2818086" y="945427"/>
                    <a:pt x="2738548" y="945427"/>
                  </a:cubicBezTo>
                  <a:close/>
                  <a:moveTo>
                    <a:pt x="2329405" y="945427"/>
                  </a:moveTo>
                  <a:cubicBezTo>
                    <a:pt x="2249867" y="945427"/>
                    <a:pt x="2185389" y="1009905"/>
                    <a:pt x="2185389" y="1089443"/>
                  </a:cubicBezTo>
                  <a:cubicBezTo>
                    <a:pt x="2185389" y="1168981"/>
                    <a:pt x="2249867" y="1233459"/>
                    <a:pt x="2329405" y="1233459"/>
                  </a:cubicBezTo>
                  <a:cubicBezTo>
                    <a:pt x="2408943" y="1233459"/>
                    <a:pt x="2473421" y="1168981"/>
                    <a:pt x="2473421" y="1089443"/>
                  </a:cubicBezTo>
                  <a:cubicBezTo>
                    <a:pt x="2473421" y="1009905"/>
                    <a:pt x="2408943" y="945427"/>
                    <a:pt x="2329405" y="945427"/>
                  </a:cubicBezTo>
                  <a:close/>
                  <a:moveTo>
                    <a:pt x="1920262" y="945427"/>
                  </a:moveTo>
                  <a:cubicBezTo>
                    <a:pt x="1840724" y="945427"/>
                    <a:pt x="1776246" y="1009905"/>
                    <a:pt x="1776246" y="1089443"/>
                  </a:cubicBezTo>
                  <a:cubicBezTo>
                    <a:pt x="1776246" y="1168981"/>
                    <a:pt x="1840724" y="1233459"/>
                    <a:pt x="1920262" y="1233459"/>
                  </a:cubicBezTo>
                  <a:cubicBezTo>
                    <a:pt x="1999800" y="1233459"/>
                    <a:pt x="2064278" y="1168981"/>
                    <a:pt x="2064278" y="1089443"/>
                  </a:cubicBezTo>
                  <a:cubicBezTo>
                    <a:pt x="2064278" y="1009905"/>
                    <a:pt x="1999800" y="945427"/>
                    <a:pt x="1920262" y="945427"/>
                  </a:cubicBezTo>
                  <a:close/>
                  <a:moveTo>
                    <a:pt x="1511119" y="945427"/>
                  </a:moveTo>
                  <a:cubicBezTo>
                    <a:pt x="1431581" y="945427"/>
                    <a:pt x="1367103" y="1009905"/>
                    <a:pt x="1367103" y="1089443"/>
                  </a:cubicBezTo>
                  <a:cubicBezTo>
                    <a:pt x="1367103" y="1168981"/>
                    <a:pt x="1431581" y="1233459"/>
                    <a:pt x="1511119" y="1233459"/>
                  </a:cubicBezTo>
                  <a:cubicBezTo>
                    <a:pt x="1590657" y="1233459"/>
                    <a:pt x="1655135" y="1168981"/>
                    <a:pt x="1655135" y="1089443"/>
                  </a:cubicBezTo>
                  <a:cubicBezTo>
                    <a:pt x="1655135" y="1009905"/>
                    <a:pt x="1590657" y="945427"/>
                    <a:pt x="1511119" y="945427"/>
                  </a:cubicBezTo>
                  <a:close/>
                  <a:moveTo>
                    <a:pt x="1101976" y="945427"/>
                  </a:moveTo>
                  <a:cubicBezTo>
                    <a:pt x="1022438" y="945427"/>
                    <a:pt x="957960" y="1009905"/>
                    <a:pt x="957960" y="1089443"/>
                  </a:cubicBezTo>
                  <a:cubicBezTo>
                    <a:pt x="957960" y="1168981"/>
                    <a:pt x="1022438" y="1233459"/>
                    <a:pt x="1101976" y="1233459"/>
                  </a:cubicBezTo>
                  <a:cubicBezTo>
                    <a:pt x="1181514" y="1233459"/>
                    <a:pt x="1245992" y="1168981"/>
                    <a:pt x="1245992" y="1089443"/>
                  </a:cubicBezTo>
                  <a:cubicBezTo>
                    <a:pt x="1245992" y="1009905"/>
                    <a:pt x="1181514" y="945427"/>
                    <a:pt x="1101976" y="945427"/>
                  </a:cubicBezTo>
                  <a:close/>
                  <a:moveTo>
                    <a:pt x="692833" y="945427"/>
                  </a:moveTo>
                  <a:cubicBezTo>
                    <a:pt x="613295" y="945427"/>
                    <a:pt x="548817" y="1009905"/>
                    <a:pt x="548817" y="1089443"/>
                  </a:cubicBezTo>
                  <a:cubicBezTo>
                    <a:pt x="548817" y="1168981"/>
                    <a:pt x="613295" y="1233459"/>
                    <a:pt x="692833" y="1233459"/>
                  </a:cubicBezTo>
                  <a:cubicBezTo>
                    <a:pt x="772371" y="1233459"/>
                    <a:pt x="836849" y="1168981"/>
                    <a:pt x="836849" y="1089443"/>
                  </a:cubicBezTo>
                  <a:cubicBezTo>
                    <a:pt x="836849" y="1009905"/>
                    <a:pt x="772371" y="945427"/>
                    <a:pt x="692833" y="945427"/>
                  </a:cubicBezTo>
                  <a:close/>
                  <a:moveTo>
                    <a:pt x="283690" y="945427"/>
                  </a:moveTo>
                  <a:cubicBezTo>
                    <a:pt x="204152" y="945427"/>
                    <a:pt x="139674" y="1009905"/>
                    <a:pt x="139674" y="1089443"/>
                  </a:cubicBezTo>
                  <a:cubicBezTo>
                    <a:pt x="139674" y="1168981"/>
                    <a:pt x="204152" y="1233459"/>
                    <a:pt x="283690" y="1233459"/>
                  </a:cubicBezTo>
                  <a:cubicBezTo>
                    <a:pt x="363228" y="1233459"/>
                    <a:pt x="427706" y="1168981"/>
                    <a:pt x="427706" y="1089443"/>
                  </a:cubicBezTo>
                  <a:cubicBezTo>
                    <a:pt x="427706" y="1009905"/>
                    <a:pt x="363228" y="945427"/>
                    <a:pt x="283690" y="945427"/>
                  </a:cubicBezTo>
                  <a:close/>
                  <a:moveTo>
                    <a:pt x="3965276" y="530204"/>
                  </a:moveTo>
                  <a:cubicBezTo>
                    <a:pt x="3885738" y="530204"/>
                    <a:pt x="3821260" y="594682"/>
                    <a:pt x="3821260" y="674220"/>
                  </a:cubicBezTo>
                  <a:cubicBezTo>
                    <a:pt x="3821260" y="753758"/>
                    <a:pt x="3885738" y="818236"/>
                    <a:pt x="3965276" y="818236"/>
                  </a:cubicBezTo>
                  <a:cubicBezTo>
                    <a:pt x="4044814" y="818236"/>
                    <a:pt x="4109292" y="753758"/>
                    <a:pt x="4109292" y="674220"/>
                  </a:cubicBezTo>
                  <a:cubicBezTo>
                    <a:pt x="4109292" y="594682"/>
                    <a:pt x="4044814" y="530204"/>
                    <a:pt x="3965276" y="530204"/>
                  </a:cubicBezTo>
                  <a:close/>
                  <a:moveTo>
                    <a:pt x="3556134" y="530204"/>
                  </a:moveTo>
                  <a:cubicBezTo>
                    <a:pt x="3476596" y="530204"/>
                    <a:pt x="3412118" y="594682"/>
                    <a:pt x="3412118" y="674220"/>
                  </a:cubicBezTo>
                  <a:cubicBezTo>
                    <a:pt x="3412118" y="753758"/>
                    <a:pt x="3476596" y="818236"/>
                    <a:pt x="3556134" y="818236"/>
                  </a:cubicBezTo>
                  <a:cubicBezTo>
                    <a:pt x="3635672" y="818236"/>
                    <a:pt x="3700150" y="753758"/>
                    <a:pt x="3700150" y="674220"/>
                  </a:cubicBezTo>
                  <a:cubicBezTo>
                    <a:pt x="3700150" y="594682"/>
                    <a:pt x="3635672" y="530204"/>
                    <a:pt x="3556134" y="530204"/>
                  </a:cubicBezTo>
                  <a:close/>
                  <a:moveTo>
                    <a:pt x="3146991" y="530204"/>
                  </a:moveTo>
                  <a:cubicBezTo>
                    <a:pt x="3067453" y="530204"/>
                    <a:pt x="3002975" y="594682"/>
                    <a:pt x="3002975" y="674220"/>
                  </a:cubicBezTo>
                  <a:cubicBezTo>
                    <a:pt x="3002975" y="753758"/>
                    <a:pt x="3067453" y="818236"/>
                    <a:pt x="3146991" y="818236"/>
                  </a:cubicBezTo>
                  <a:cubicBezTo>
                    <a:pt x="3226529" y="818236"/>
                    <a:pt x="3291007" y="753758"/>
                    <a:pt x="3291007" y="674220"/>
                  </a:cubicBezTo>
                  <a:cubicBezTo>
                    <a:pt x="3291007" y="594682"/>
                    <a:pt x="3226529" y="530204"/>
                    <a:pt x="3146991" y="530204"/>
                  </a:cubicBezTo>
                  <a:close/>
                  <a:moveTo>
                    <a:pt x="2737848" y="530204"/>
                  </a:moveTo>
                  <a:cubicBezTo>
                    <a:pt x="2658310" y="530204"/>
                    <a:pt x="2593832" y="594682"/>
                    <a:pt x="2593832" y="674220"/>
                  </a:cubicBezTo>
                  <a:cubicBezTo>
                    <a:pt x="2593832" y="753758"/>
                    <a:pt x="2658310" y="818236"/>
                    <a:pt x="2737848" y="818236"/>
                  </a:cubicBezTo>
                  <a:cubicBezTo>
                    <a:pt x="2817386" y="818236"/>
                    <a:pt x="2881864" y="753758"/>
                    <a:pt x="2881864" y="674220"/>
                  </a:cubicBezTo>
                  <a:cubicBezTo>
                    <a:pt x="2881864" y="594682"/>
                    <a:pt x="2817386" y="530204"/>
                    <a:pt x="2737848" y="530204"/>
                  </a:cubicBezTo>
                  <a:close/>
                  <a:moveTo>
                    <a:pt x="2328705" y="530204"/>
                  </a:moveTo>
                  <a:cubicBezTo>
                    <a:pt x="2249167" y="530204"/>
                    <a:pt x="2184689" y="594682"/>
                    <a:pt x="2184689" y="674220"/>
                  </a:cubicBezTo>
                  <a:cubicBezTo>
                    <a:pt x="2184689" y="753758"/>
                    <a:pt x="2249167" y="818236"/>
                    <a:pt x="2328705" y="818236"/>
                  </a:cubicBezTo>
                  <a:cubicBezTo>
                    <a:pt x="2408243" y="818236"/>
                    <a:pt x="2472721" y="753758"/>
                    <a:pt x="2472721" y="674220"/>
                  </a:cubicBezTo>
                  <a:cubicBezTo>
                    <a:pt x="2472721" y="594682"/>
                    <a:pt x="2408243" y="530204"/>
                    <a:pt x="2328705" y="530204"/>
                  </a:cubicBezTo>
                  <a:close/>
                  <a:moveTo>
                    <a:pt x="1919562" y="530204"/>
                  </a:moveTo>
                  <a:cubicBezTo>
                    <a:pt x="1840024" y="530204"/>
                    <a:pt x="1775546" y="594682"/>
                    <a:pt x="1775546" y="674220"/>
                  </a:cubicBezTo>
                  <a:cubicBezTo>
                    <a:pt x="1775546" y="753758"/>
                    <a:pt x="1840024" y="818236"/>
                    <a:pt x="1919562" y="818236"/>
                  </a:cubicBezTo>
                  <a:cubicBezTo>
                    <a:pt x="1999100" y="818236"/>
                    <a:pt x="2063578" y="753758"/>
                    <a:pt x="2063578" y="674220"/>
                  </a:cubicBezTo>
                  <a:cubicBezTo>
                    <a:pt x="2063578" y="594682"/>
                    <a:pt x="1999100" y="530204"/>
                    <a:pt x="1919562" y="530204"/>
                  </a:cubicBezTo>
                  <a:close/>
                  <a:moveTo>
                    <a:pt x="1510419" y="530204"/>
                  </a:moveTo>
                  <a:cubicBezTo>
                    <a:pt x="1430881" y="530204"/>
                    <a:pt x="1366403" y="594682"/>
                    <a:pt x="1366403" y="674220"/>
                  </a:cubicBezTo>
                  <a:cubicBezTo>
                    <a:pt x="1366403" y="753758"/>
                    <a:pt x="1430881" y="818236"/>
                    <a:pt x="1510419" y="818236"/>
                  </a:cubicBezTo>
                  <a:cubicBezTo>
                    <a:pt x="1589957" y="818236"/>
                    <a:pt x="1654435" y="753758"/>
                    <a:pt x="1654435" y="674220"/>
                  </a:cubicBezTo>
                  <a:cubicBezTo>
                    <a:pt x="1654435" y="594682"/>
                    <a:pt x="1589957" y="530204"/>
                    <a:pt x="1510419" y="530204"/>
                  </a:cubicBezTo>
                  <a:close/>
                  <a:moveTo>
                    <a:pt x="1101276" y="530204"/>
                  </a:moveTo>
                  <a:cubicBezTo>
                    <a:pt x="1021738" y="530204"/>
                    <a:pt x="957260" y="594682"/>
                    <a:pt x="957260" y="674220"/>
                  </a:cubicBezTo>
                  <a:cubicBezTo>
                    <a:pt x="957260" y="753758"/>
                    <a:pt x="1021738" y="818236"/>
                    <a:pt x="1101276" y="818236"/>
                  </a:cubicBezTo>
                  <a:cubicBezTo>
                    <a:pt x="1180814" y="818236"/>
                    <a:pt x="1245292" y="753758"/>
                    <a:pt x="1245292" y="674220"/>
                  </a:cubicBezTo>
                  <a:cubicBezTo>
                    <a:pt x="1245292" y="594682"/>
                    <a:pt x="1180814" y="530204"/>
                    <a:pt x="1101276" y="530204"/>
                  </a:cubicBezTo>
                  <a:close/>
                  <a:moveTo>
                    <a:pt x="692133" y="530204"/>
                  </a:moveTo>
                  <a:cubicBezTo>
                    <a:pt x="612595" y="530204"/>
                    <a:pt x="548117" y="594682"/>
                    <a:pt x="548117" y="674220"/>
                  </a:cubicBezTo>
                  <a:cubicBezTo>
                    <a:pt x="548117" y="753758"/>
                    <a:pt x="612595" y="818236"/>
                    <a:pt x="692133" y="818236"/>
                  </a:cubicBezTo>
                  <a:cubicBezTo>
                    <a:pt x="771671" y="818236"/>
                    <a:pt x="836149" y="753758"/>
                    <a:pt x="836149" y="674220"/>
                  </a:cubicBezTo>
                  <a:cubicBezTo>
                    <a:pt x="836149" y="594682"/>
                    <a:pt x="771671" y="530204"/>
                    <a:pt x="692133" y="530204"/>
                  </a:cubicBezTo>
                  <a:close/>
                  <a:moveTo>
                    <a:pt x="282990" y="530204"/>
                  </a:moveTo>
                  <a:cubicBezTo>
                    <a:pt x="203452" y="530204"/>
                    <a:pt x="138974" y="594682"/>
                    <a:pt x="138974" y="674220"/>
                  </a:cubicBezTo>
                  <a:cubicBezTo>
                    <a:pt x="138974" y="753758"/>
                    <a:pt x="203452" y="818236"/>
                    <a:pt x="282990" y="818236"/>
                  </a:cubicBezTo>
                  <a:cubicBezTo>
                    <a:pt x="362528" y="818236"/>
                    <a:pt x="427006" y="753758"/>
                    <a:pt x="427006" y="674220"/>
                  </a:cubicBezTo>
                  <a:cubicBezTo>
                    <a:pt x="427006" y="594682"/>
                    <a:pt x="362528" y="530204"/>
                    <a:pt x="282990" y="530204"/>
                  </a:cubicBezTo>
                  <a:close/>
                  <a:moveTo>
                    <a:pt x="3964576" y="114981"/>
                  </a:moveTo>
                  <a:cubicBezTo>
                    <a:pt x="3885038" y="114981"/>
                    <a:pt x="3820560" y="179459"/>
                    <a:pt x="3820560" y="258997"/>
                  </a:cubicBezTo>
                  <a:cubicBezTo>
                    <a:pt x="3820560" y="338535"/>
                    <a:pt x="3885038" y="403013"/>
                    <a:pt x="3964576" y="403013"/>
                  </a:cubicBezTo>
                  <a:cubicBezTo>
                    <a:pt x="4044114" y="403013"/>
                    <a:pt x="4108592" y="338535"/>
                    <a:pt x="4108592" y="258997"/>
                  </a:cubicBezTo>
                  <a:cubicBezTo>
                    <a:pt x="4108592" y="179459"/>
                    <a:pt x="4044114" y="114981"/>
                    <a:pt x="3964576" y="114981"/>
                  </a:cubicBezTo>
                  <a:close/>
                  <a:moveTo>
                    <a:pt x="3555434" y="114981"/>
                  </a:moveTo>
                  <a:cubicBezTo>
                    <a:pt x="3475896" y="114981"/>
                    <a:pt x="3411418" y="179459"/>
                    <a:pt x="3411418" y="258997"/>
                  </a:cubicBezTo>
                  <a:cubicBezTo>
                    <a:pt x="3411418" y="338535"/>
                    <a:pt x="3475896" y="403013"/>
                    <a:pt x="3555434" y="403013"/>
                  </a:cubicBezTo>
                  <a:cubicBezTo>
                    <a:pt x="3634972" y="403013"/>
                    <a:pt x="3699450" y="338535"/>
                    <a:pt x="3699450" y="258997"/>
                  </a:cubicBezTo>
                  <a:cubicBezTo>
                    <a:pt x="3699450" y="179459"/>
                    <a:pt x="3634972" y="114981"/>
                    <a:pt x="3555434" y="114981"/>
                  </a:cubicBezTo>
                  <a:close/>
                  <a:moveTo>
                    <a:pt x="3146291" y="114981"/>
                  </a:moveTo>
                  <a:cubicBezTo>
                    <a:pt x="3066753" y="114981"/>
                    <a:pt x="3002275" y="179459"/>
                    <a:pt x="3002275" y="258997"/>
                  </a:cubicBezTo>
                  <a:cubicBezTo>
                    <a:pt x="3002275" y="338535"/>
                    <a:pt x="3066753" y="403013"/>
                    <a:pt x="3146291" y="403013"/>
                  </a:cubicBezTo>
                  <a:cubicBezTo>
                    <a:pt x="3225829" y="403013"/>
                    <a:pt x="3290307" y="338535"/>
                    <a:pt x="3290307" y="258997"/>
                  </a:cubicBezTo>
                  <a:cubicBezTo>
                    <a:pt x="3290307" y="179459"/>
                    <a:pt x="3225829" y="114981"/>
                    <a:pt x="3146291" y="114981"/>
                  </a:cubicBezTo>
                  <a:close/>
                  <a:moveTo>
                    <a:pt x="2737148" y="114981"/>
                  </a:moveTo>
                  <a:cubicBezTo>
                    <a:pt x="2657610" y="114981"/>
                    <a:pt x="2593132" y="179459"/>
                    <a:pt x="2593132" y="258997"/>
                  </a:cubicBezTo>
                  <a:cubicBezTo>
                    <a:pt x="2593132" y="338535"/>
                    <a:pt x="2657610" y="403013"/>
                    <a:pt x="2737148" y="403013"/>
                  </a:cubicBezTo>
                  <a:cubicBezTo>
                    <a:pt x="2816686" y="403013"/>
                    <a:pt x="2881164" y="338535"/>
                    <a:pt x="2881164" y="258997"/>
                  </a:cubicBezTo>
                  <a:cubicBezTo>
                    <a:pt x="2881164" y="179459"/>
                    <a:pt x="2816686" y="114981"/>
                    <a:pt x="2737148" y="114981"/>
                  </a:cubicBezTo>
                  <a:close/>
                  <a:moveTo>
                    <a:pt x="2328005" y="114981"/>
                  </a:moveTo>
                  <a:cubicBezTo>
                    <a:pt x="2248467" y="114981"/>
                    <a:pt x="2183989" y="179459"/>
                    <a:pt x="2183989" y="258997"/>
                  </a:cubicBezTo>
                  <a:cubicBezTo>
                    <a:pt x="2183989" y="338535"/>
                    <a:pt x="2248467" y="403013"/>
                    <a:pt x="2328005" y="403013"/>
                  </a:cubicBezTo>
                  <a:cubicBezTo>
                    <a:pt x="2407543" y="403013"/>
                    <a:pt x="2472021" y="338535"/>
                    <a:pt x="2472021" y="258997"/>
                  </a:cubicBezTo>
                  <a:cubicBezTo>
                    <a:pt x="2472021" y="179459"/>
                    <a:pt x="2407543" y="114981"/>
                    <a:pt x="2328005" y="114981"/>
                  </a:cubicBezTo>
                  <a:close/>
                  <a:moveTo>
                    <a:pt x="1918862" y="114981"/>
                  </a:moveTo>
                  <a:cubicBezTo>
                    <a:pt x="1839324" y="114981"/>
                    <a:pt x="1774846" y="179459"/>
                    <a:pt x="1774846" y="258997"/>
                  </a:cubicBezTo>
                  <a:cubicBezTo>
                    <a:pt x="1774846" y="338535"/>
                    <a:pt x="1839324" y="403013"/>
                    <a:pt x="1918862" y="403013"/>
                  </a:cubicBezTo>
                  <a:cubicBezTo>
                    <a:pt x="1998400" y="403013"/>
                    <a:pt x="2062878" y="338535"/>
                    <a:pt x="2062878" y="258997"/>
                  </a:cubicBezTo>
                  <a:cubicBezTo>
                    <a:pt x="2062878" y="179459"/>
                    <a:pt x="1998400" y="114981"/>
                    <a:pt x="1918862" y="114981"/>
                  </a:cubicBezTo>
                  <a:close/>
                  <a:moveTo>
                    <a:pt x="1509719" y="114981"/>
                  </a:moveTo>
                  <a:cubicBezTo>
                    <a:pt x="1430181" y="114981"/>
                    <a:pt x="1365703" y="179459"/>
                    <a:pt x="1365703" y="258997"/>
                  </a:cubicBezTo>
                  <a:cubicBezTo>
                    <a:pt x="1365703" y="338535"/>
                    <a:pt x="1430181" y="403013"/>
                    <a:pt x="1509719" y="403013"/>
                  </a:cubicBezTo>
                  <a:cubicBezTo>
                    <a:pt x="1589257" y="403013"/>
                    <a:pt x="1653735" y="338535"/>
                    <a:pt x="1653735" y="258997"/>
                  </a:cubicBezTo>
                  <a:cubicBezTo>
                    <a:pt x="1653735" y="179459"/>
                    <a:pt x="1589257" y="114981"/>
                    <a:pt x="1509719" y="114981"/>
                  </a:cubicBezTo>
                  <a:close/>
                  <a:moveTo>
                    <a:pt x="1100576" y="114981"/>
                  </a:moveTo>
                  <a:cubicBezTo>
                    <a:pt x="1021038" y="114981"/>
                    <a:pt x="956560" y="179459"/>
                    <a:pt x="956560" y="258997"/>
                  </a:cubicBezTo>
                  <a:cubicBezTo>
                    <a:pt x="956560" y="338535"/>
                    <a:pt x="1021038" y="403013"/>
                    <a:pt x="1100576" y="403013"/>
                  </a:cubicBezTo>
                  <a:cubicBezTo>
                    <a:pt x="1180114" y="403013"/>
                    <a:pt x="1244592" y="338535"/>
                    <a:pt x="1244592" y="258997"/>
                  </a:cubicBezTo>
                  <a:cubicBezTo>
                    <a:pt x="1244592" y="179459"/>
                    <a:pt x="1180114" y="114981"/>
                    <a:pt x="1100576" y="114981"/>
                  </a:cubicBezTo>
                  <a:close/>
                  <a:moveTo>
                    <a:pt x="691433" y="114981"/>
                  </a:moveTo>
                  <a:cubicBezTo>
                    <a:pt x="611895" y="114981"/>
                    <a:pt x="547417" y="179459"/>
                    <a:pt x="547417" y="258997"/>
                  </a:cubicBezTo>
                  <a:cubicBezTo>
                    <a:pt x="547417" y="338535"/>
                    <a:pt x="611895" y="403013"/>
                    <a:pt x="691433" y="403013"/>
                  </a:cubicBezTo>
                  <a:cubicBezTo>
                    <a:pt x="770971" y="403013"/>
                    <a:pt x="835449" y="338535"/>
                    <a:pt x="835449" y="258997"/>
                  </a:cubicBezTo>
                  <a:cubicBezTo>
                    <a:pt x="835449" y="179459"/>
                    <a:pt x="770971" y="114981"/>
                    <a:pt x="691433" y="114981"/>
                  </a:cubicBezTo>
                  <a:close/>
                  <a:moveTo>
                    <a:pt x="282290" y="114981"/>
                  </a:moveTo>
                  <a:cubicBezTo>
                    <a:pt x="202752" y="114981"/>
                    <a:pt x="138274" y="179459"/>
                    <a:pt x="138274" y="258997"/>
                  </a:cubicBezTo>
                  <a:cubicBezTo>
                    <a:pt x="138274" y="338535"/>
                    <a:pt x="202752" y="403013"/>
                    <a:pt x="282290" y="403013"/>
                  </a:cubicBezTo>
                  <a:cubicBezTo>
                    <a:pt x="361828" y="403013"/>
                    <a:pt x="426306" y="338535"/>
                    <a:pt x="426306" y="258997"/>
                  </a:cubicBezTo>
                  <a:cubicBezTo>
                    <a:pt x="426306" y="179459"/>
                    <a:pt x="361828" y="114981"/>
                    <a:pt x="282290" y="114981"/>
                  </a:cubicBezTo>
                  <a:close/>
                  <a:moveTo>
                    <a:pt x="0" y="0"/>
                  </a:moveTo>
                  <a:lnTo>
                    <a:pt x="4248472" y="0"/>
                  </a:lnTo>
                  <a:lnTo>
                    <a:pt x="4248472" y="4248472"/>
                  </a:lnTo>
                  <a:lnTo>
                    <a:pt x="0" y="424847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p>
          </p:txBody>
        </p:sp>
      </p:grpSp>
      <p:grpSp>
        <p:nvGrpSpPr>
          <p:cNvPr id="20" name="Group 18">
            <a:extLst>
              <a:ext uri="{FF2B5EF4-FFF2-40B4-BE49-F238E27FC236}">
                <a16:creationId xmlns:a16="http://schemas.microsoft.com/office/drawing/2014/main" id="{CFECD117-0216-45F1-8E73-805DF18545AD}"/>
              </a:ext>
            </a:extLst>
          </p:cNvPr>
          <p:cNvGrpSpPr/>
          <p:nvPr/>
        </p:nvGrpSpPr>
        <p:grpSpPr>
          <a:xfrm>
            <a:off x="6727943" y="2626285"/>
            <a:ext cx="1456289" cy="1522795"/>
            <a:chOff x="244450" y="1414556"/>
            <a:chExt cx="2585095" cy="2585095"/>
          </a:xfrm>
        </p:grpSpPr>
        <p:graphicFrame>
          <p:nvGraphicFramePr>
            <p:cNvPr id="21" name="Chart 19">
              <a:extLst>
                <a:ext uri="{FF2B5EF4-FFF2-40B4-BE49-F238E27FC236}">
                  <a16:creationId xmlns:a16="http://schemas.microsoft.com/office/drawing/2014/main" id="{1DC11012-6C94-4D2B-8787-FC663100096D}"/>
                </a:ext>
              </a:extLst>
            </p:cNvPr>
            <p:cNvGraphicFramePr/>
            <p:nvPr>
              <p:extLst>
                <p:ext uri="{D42A27DB-BD31-4B8C-83A1-F6EECF244321}">
                  <p14:modId xmlns:p14="http://schemas.microsoft.com/office/powerpoint/2010/main" val="3349583950"/>
                </p:ext>
              </p:extLst>
            </p:nvPr>
          </p:nvGraphicFramePr>
          <p:xfrm>
            <a:off x="309265" y="1418699"/>
            <a:ext cx="2519446" cy="2517158"/>
          </p:xfrm>
          <a:graphic>
            <a:graphicData uri="http://schemas.openxmlformats.org/drawingml/2006/chart">
              <c:chart xmlns:c="http://schemas.openxmlformats.org/drawingml/2006/chart" xmlns:r="http://schemas.openxmlformats.org/officeDocument/2006/relationships" r:id="rId5"/>
            </a:graphicData>
          </a:graphic>
        </p:graphicFrame>
        <p:sp>
          <p:nvSpPr>
            <p:cNvPr id="22" name="Rectangle 112">
              <a:extLst>
                <a:ext uri="{FF2B5EF4-FFF2-40B4-BE49-F238E27FC236}">
                  <a16:creationId xmlns:a16="http://schemas.microsoft.com/office/drawing/2014/main" id="{3F388E15-836E-43FF-9328-CDB71AF6F781}"/>
                </a:ext>
              </a:extLst>
            </p:cNvPr>
            <p:cNvSpPr/>
            <p:nvPr/>
          </p:nvSpPr>
          <p:spPr bwMode="gray">
            <a:xfrm>
              <a:off x="244450" y="1414556"/>
              <a:ext cx="2585095" cy="2585095"/>
            </a:xfrm>
            <a:custGeom>
              <a:avLst/>
              <a:gdLst/>
              <a:ahLst/>
              <a:cxnLst/>
              <a:rect l="l" t="t" r="r" b="b"/>
              <a:pathLst>
                <a:path w="4248472" h="4248472">
                  <a:moveTo>
                    <a:pt x="3963192" y="3851992"/>
                  </a:moveTo>
                  <a:cubicBezTo>
                    <a:pt x="3883654" y="3851992"/>
                    <a:pt x="3819176" y="3916470"/>
                    <a:pt x="3819176" y="3996008"/>
                  </a:cubicBezTo>
                  <a:cubicBezTo>
                    <a:pt x="3819176" y="4075546"/>
                    <a:pt x="3883654" y="4140024"/>
                    <a:pt x="3963192" y="4140024"/>
                  </a:cubicBezTo>
                  <a:cubicBezTo>
                    <a:pt x="4042730" y="4140024"/>
                    <a:pt x="4107208" y="4075546"/>
                    <a:pt x="4107208" y="3996008"/>
                  </a:cubicBezTo>
                  <a:cubicBezTo>
                    <a:pt x="4107208" y="3916470"/>
                    <a:pt x="4042730" y="3851992"/>
                    <a:pt x="3963192" y="3851992"/>
                  </a:cubicBezTo>
                  <a:close/>
                  <a:moveTo>
                    <a:pt x="3554050" y="3851992"/>
                  </a:moveTo>
                  <a:cubicBezTo>
                    <a:pt x="3474512" y="3851992"/>
                    <a:pt x="3410034" y="3916470"/>
                    <a:pt x="3410034" y="3996008"/>
                  </a:cubicBezTo>
                  <a:cubicBezTo>
                    <a:pt x="3410034" y="4075546"/>
                    <a:pt x="3474512" y="4140024"/>
                    <a:pt x="3554050" y="4140024"/>
                  </a:cubicBezTo>
                  <a:cubicBezTo>
                    <a:pt x="3633588" y="4140024"/>
                    <a:pt x="3698066" y="4075546"/>
                    <a:pt x="3698066" y="3996008"/>
                  </a:cubicBezTo>
                  <a:cubicBezTo>
                    <a:pt x="3698066" y="3916470"/>
                    <a:pt x="3633588" y="3851992"/>
                    <a:pt x="3554050" y="3851992"/>
                  </a:cubicBezTo>
                  <a:close/>
                  <a:moveTo>
                    <a:pt x="3144907" y="3851992"/>
                  </a:moveTo>
                  <a:cubicBezTo>
                    <a:pt x="3065369" y="3851992"/>
                    <a:pt x="3000891" y="3916470"/>
                    <a:pt x="3000891" y="3996008"/>
                  </a:cubicBezTo>
                  <a:cubicBezTo>
                    <a:pt x="3000891" y="4075546"/>
                    <a:pt x="3065369" y="4140024"/>
                    <a:pt x="3144907" y="4140024"/>
                  </a:cubicBezTo>
                  <a:cubicBezTo>
                    <a:pt x="3224445" y="4140024"/>
                    <a:pt x="3288923" y="4075546"/>
                    <a:pt x="3288923" y="3996008"/>
                  </a:cubicBezTo>
                  <a:cubicBezTo>
                    <a:pt x="3288923" y="3916470"/>
                    <a:pt x="3224445" y="3851992"/>
                    <a:pt x="3144907" y="3851992"/>
                  </a:cubicBezTo>
                  <a:close/>
                  <a:moveTo>
                    <a:pt x="2735764" y="3851992"/>
                  </a:moveTo>
                  <a:cubicBezTo>
                    <a:pt x="2656226" y="3851992"/>
                    <a:pt x="2591748" y="3916470"/>
                    <a:pt x="2591748" y="3996008"/>
                  </a:cubicBezTo>
                  <a:cubicBezTo>
                    <a:pt x="2591748" y="4075546"/>
                    <a:pt x="2656226" y="4140024"/>
                    <a:pt x="2735764" y="4140024"/>
                  </a:cubicBezTo>
                  <a:cubicBezTo>
                    <a:pt x="2815302" y="4140024"/>
                    <a:pt x="2879780" y="4075546"/>
                    <a:pt x="2879780" y="3996008"/>
                  </a:cubicBezTo>
                  <a:cubicBezTo>
                    <a:pt x="2879780" y="3916470"/>
                    <a:pt x="2815302" y="3851992"/>
                    <a:pt x="2735764" y="3851992"/>
                  </a:cubicBezTo>
                  <a:close/>
                  <a:moveTo>
                    <a:pt x="2326621" y="3851992"/>
                  </a:moveTo>
                  <a:cubicBezTo>
                    <a:pt x="2247083" y="3851992"/>
                    <a:pt x="2182605" y="3916470"/>
                    <a:pt x="2182605" y="3996008"/>
                  </a:cubicBezTo>
                  <a:cubicBezTo>
                    <a:pt x="2182605" y="4075546"/>
                    <a:pt x="2247083" y="4140024"/>
                    <a:pt x="2326621" y="4140024"/>
                  </a:cubicBezTo>
                  <a:cubicBezTo>
                    <a:pt x="2406159" y="4140024"/>
                    <a:pt x="2470637" y="4075546"/>
                    <a:pt x="2470637" y="3996008"/>
                  </a:cubicBezTo>
                  <a:cubicBezTo>
                    <a:pt x="2470637" y="3916470"/>
                    <a:pt x="2406159" y="3851992"/>
                    <a:pt x="2326621" y="3851992"/>
                  </a:cubicBezTo>
                  <a:close/>
                  <a:moveTo>
                    <a:pt x="1917478" y="3851992"/>
                  </a:moveTo>
                  <a:cubicBezTo>
                    <a:pt x="1837940" y="3851992"/>
                    <a:pt x="1773462" y="3916470"/>
                    <a:pt x="1773462" y="3996008"/>
                  </a:cubicBezTo>
                  <a:cubicBezTo>
                    <a:pt x="1773462" y="4075546"/>
                    <a:pt x="1837940" y="4140024"/>
                    <a:pt x="1917478" y="4140024"/>
                  </a:cubicBezTo>
                  <a:cubicBezTo>
                    <a:pt x="1997016" y="4140024"/>
                    <a:pt x="2061494" y="4075546"/>
                    <a:pt x="2061494" y="3996008"/>
                  </a:cubicBezTo>
                  <a:cubicBezTo>
                    <a:pt x="2061494" y="3916470"/>
                    <a:pt x="1997016" y="3851992"/>
                    <a:pt x="1917478" y="3851992"/>
                  </a:cubicBezTo>
                  <a:close/>
                  <a:moveTo>
                    <a:pt x="1508335" y="3851992"/>
                  </a:moveTo>
                  <a:cubicBezTo>
                    <a:pt x="1428797" y="3851992"/>
                    <a:pt x="1364319" y="3916470"/>
                    <a:pt x="1364319" y="3996008"/>
                  </a:cubicBezTo>
                  <a:cubicBezTo>
                    <a:pt x="1364319" y="4075546"/>
                    <a:pt x="1428797" y="4140024"/>
                    <a:pt x="1508335" y="4140024"/>
                  </a:cubicBezTo>
                  <a:cubicBezTo>
                    <a:pt x="1587873" y="4140024"/>
                    <a:pt x="1652351" y="4075546"/>
                    <a:pt x="1652351" y="3996008"/>
                  </a:cubicBezTo>
                  <a:cubicBezTo>
                    <a:pt x="1652351" y="3916470"/>
                    <a:pt x="1587873" y="3851992"/>
                    <a:pt x="1508335" y="3851992"/>
                  </a:cubicBezTo>
                  <a:close/>
                  <a:moveTo>
                    <a:pt x="1099192" y="3851992"/>
                  </a:moveTo>
                  <a:cubicBezTo>
                    <a:pt x="1019654" y="3851992"/>
                    <a:pt x="955176" y="3916470"/>
                    <a:pt x="955176" y="3996008"/>
                  </a:cubicBezTo>
                  <a:cubicBezTo>
                    <a:pt x="955176" y="4075546"/>
                    <a:pt x="1019654" y="4140024"/>
                    <a:pt x="1099192" y="4140024"/>
                  </a:cubicBezTo>
                  <a:cubicBezTo>
                    <a:pt x="1178730" y="4140024"/>
                    <a:pt x="1243208" y="4075546"/>
                    <a:pt x="1243208" y="3996008"/>
                  </a:cubicBezTo>
                  <a:cubicBezTo>
                    <a:pt x="1243208" y="3916470"/>
                    <a:pt x="1178730" y="3851992"/>
                    <a:pt x="1099192" y="3851992"/>
                  </a:cubicBezTo>
                  <a:close/>
                  <a:moveTo>
                    <a:pt x="690049" y="3851992"/>
                  </a:moveTo>
                  <a:cubicBezTo>
                    <a:pt x="610511" y="3851992"/>
                    <a:pt x="546033" y="3916470"/>
                    <a:pt x="546033" y="3996008"/>
                  </a:cubicBezTo>
                  <a:cubicBezTo>
                    <a:pt x="546033" y="4075546"/>
                    <a:pt x="610511" y="4140024"/>
                    <a:pt x="690049" y="4140024"/>
                  </a:cubicBezTo>
                  <a:cubicBezTo>
                    <a:pt x="769587" y="4140024"/>
                    <a:pt x="834065" y="4075546"/>
                    <a:pt x="834065" y="3996008"/>
                  </a:cubicBezTo>
                  <a:cubicBezTo>
                    <a:pt x="834065" y="3916470"/>
                    <a:pt x="769587" y="3851992"/>
                    <a:pt x="690049" y="3851992"/>
                  </a:cubicBezTo>
                  <a:close/>
                  <a:moveTo>
                    <a:pt x="280906" y="3851992"/>
                  </a:moveTo>
                  <a:cubicBezTo>
                    <a:pt x="201368" y="3851992"/>
                    <a:pt x="136890" y="3916470"/>
                    <a:pt x="136890" y="3996008"/>
                  </a:cubicBezTo>
                  <a:cubicBezTo>
                    <a:pt x="136890" y="4075546"/>
                    <a:pt x="201368" y="4140024"/>
                    <a:pt x="280906" y="4140024"/>
                  </a:cubicBezTo>
                  <a:cubicBezTo>
                    <a:pt x="360444" y="4140024"/>
                    <a:pt x="424922" y="4075546"/>
                    <a:pt x="424922" y="3996008"/>
                  </a:cubicBezTo>
                  <a:cubicBezTo>
                    <a:pt x="424922" y="3916470"/>
                    <a:pt x="360444" y="3851992"/>
                    <a:pt x="280906" y="3851992"/>
                  </a:cubicBezTo>
                  <a:close/>
                  <a:moveTo>
                    <a:pt x="3970176" y="3436765"/>
                  </a:moveTo>
                  <a:cubicBezTo>
                    <a:pt x="3890638" y="3436765"/>
                    <a:pt x="3826160" y="3501243"/>
                    <a:pt x="3826160" y="3580781"/>
                  </a:cubicBezTo>
                  <a:cubicBezTo>
                    <a:pt x="3826160" y="3660319"/>
                    <a:pt x="3890638" y="3724797"/>
                    <a:pt x="3970176" y="3724797"/>
                  </a:cubicBezTo>
                  <a:cubicBezTo>
                    <a:pt x="4049714" y="3724797"/>
                    <a:pt x="4114192" y="3660319"/>
                    <a:pt x="4114192" y="3580781"/>
                  </a:cubicBezTo>
                  <a:cubicBezTo>
                    <a:pt x="4114192" y="3501243"/>
                    <a:pt x="4049714" y="3436765"/>
                    <a:pt x="3970176" y="3436765"/>
                  </a:cubicBezTo>
                  <a:close/>
                  <a:moveTo>
                    <a:pt x="3561034" y="3436765"/>
                  </a:moveTo>
                  <a:cubicBezTo>
                    <a:pt x="3481496" y="3436765"/>
                    <a:pt x="3417018" y="3501243"/>
                    <a:pt x="3417018" y="3580781"/>
                  </a:cubicBezTo>
                  <a:cubicBezTo>
                    <a:pt x="3417018" y="3660319"/>
                    <a:pt x="3481496" y="3724797"/>
                    <a:pt x="3561034" y="3724797"/>
                  </a:cubicBezTo>
                  <a:cubicBezTo>
                    <a:pt x="3640572" y="3724797"/>
                    <a:pt x="3705050" y="3660319"/>
                    <a:pt x="3705050" y="3580781"/>
                  </a:cubicBezTo>
                  <a:cubicBezTo>
                    <a:pt x="3705050" y="3501243"/>
                    <a:pt x="3640572" y="3436765"/>
                    <a:pt x="3561034" y="3436765"/>
                  </a:cubicBezTo>
                  <a:close/>
                  <a:moveTo>
                    <a:pt x="3151891" y="3436765"/>
                  </a:moveTo>
                  <a:cubicBezTo>
                    <a:pt x="3072353" y="3436765"/>
                    <a:pt x="3007875" y="3501243"/>
                    <a:pt x="3007875" y="3580781"/>
                  </a:cubicBezTo>
                  <a:cubicBezTo>
                    <a:pt x="3007875" y="3660319"/>
                    <a:pt x="3072353" y="3724797"/>
                    <a:pt x="3151891" y="3724797"/>
                  </a:cubicBezTo>
                  <a:cubicBezTo>
                    <a:pt x="3231429" y="3724797"/>
                    <a:pt x="3295907" y="3660319"/>
                    <a:pt x="3295907" y="3580781"/>
                  </a:cubicBezTo>
                  <a:cubicBezTo>
                    <a:pt x="3295907" y="3501243"/>
                    <a:pt x="3231429" y="3436765"/>
                    <a:pt x="3151891" y="3436765"/>
                  </a:cubicBezTo>
                  <a:close/>
                  <a:moveTo>
                    <a:pt x="2742748" y="3436765"/>
                  </a:moveTo>
                  <a:cubicBezTo>
                    <a:pt x="2663210" y="3436765"/>
                    <a:pt x="2598732" y="3501243"/>
                    <a:pt x="2598732" y="3580781"/>
                  </a:cubicBezTo>
                  <a:cubicBezTo>
                    <a:pt x="2598732" y="3660319"/>
                    <a:pt x="2663210" y="3724797"/>
                    <a:pt x="2742748" y="3724797"/>
                  </a:cubicBezTo>
                  <a:cubicBezTo>
                    <a:pt x="2822286" y="3724797"/>
                    <a:pt x="2886764" y="3660319"/>
                    <a:pt x="2886764" y="3580781"/>
                  </a:cubicBezTo>
                  <a:cubicBezTo>
                    <a:pt x="2886764" y="3501243"/>
                    <a:pt x="2822286" y="3436765"/>
                    <a:pt x="2742748" y="3436765"/>
                  </a:cubicBezTo>
                  <a:close/>
                  <a:moveTo>
                    <a:pt x="2333605" y="3436765"/>
                  </a:moveTo>
                  <a:cubicBezTo>
                    <a:pt x="2254067" y="3436765"/>
                    <a:pt x="2189589" y="3501243"/>
                    <a:pt x="2189589" y="3580781"/>
                  </a:cubicBezTo>
                  <a:cubicBezTo>
                    <a:pt x="2189589" y="3660319"/>
                    <a:pt x="2254067" y="3724797"/>
                    <a:pt x="2333605" y="3724797"/>
                  </a:cubicBezTo>
                  <a:cubicBezTo>
                    <a:pt x="2413143" y="3724797"/>
                    <a:pt x="2477621" y="3660319"/>
                    <a:pt x="2477621" y="3580781"/>
                  </a:cubicBezTo>
                  <a:cubicBezTo>
                    <a:pt x="2477621" y="3501243"/>
                    <a:pt x="2413143" y="3436765"/>
                    <a:pt x="2333605" y="3436765"/>
                  </a:cubicBezTo>
                  <a:close/>
                  <a:moveTo>
                    <a:pt x="1924462" y="3436765"/>
                  </a:moveTo>
                  <a:cubicBezTo>
                    <a:pt x="1844924" y="3436765"/>
                    <a:pt x="1780446" y="3501243"/>
                    <a:pt x="1780446" y="3580781"/>
                  </a:cubicBezTo>
                  <a:cubicBezTo>
                    <a:pt x="1780446" y="3660319"/>
                    <a:pt x="1844924" y="3724797"/>
                    <a:pt x="1924462" y="3724797"/>
                  </a:cubicBezTo>
                  <a:cubicBezTo>
                    <a:pt x="2004000" y="3724797"/>
                    <a:pt x="2068478" y="3660319"/>
                    <a:pt x="2068478" y="3580781"/>
                  </a:cubicBezTo>
                  <a:cubicBezTo>
                    <a:pt x="2068478" y="3501243"/>
                    <a:pt x="2004000" y="3436765"/>
                    <a:pt x="1924462" y="3436765"/>
                  </a:cubicBezTo>
                  <a:close/>
                  <a:moveTo>
                    <a:pt x="1515319" y="3436765"/>
                  </a:moveTo>
                  <a:cubicBezTo>
                    <a:pt x="1435781" y="3436765"/>
                    <a:pt x="1371303" y="3501243"/>
                    <a:pt x="1371303" y="3580781"/>
                  </a:cubicBezTo>
                  <a:cubicBezTo>
                    <a:pt x="1371303" y="3660319"/>
                    <a:pt x="1435781" y="3724797"/>
                    <a:pt x="1515319" y="3724797"/>
                  </a:cubicBezTo>
                  <a:cubicBezTo>
                    <a:pt x="1594857" y="3724797"/>
                    <a:pt x="1659335" y="3660319"/>
                    <a:pt x="1659335" y="3580781"/>
                  </a:cubicBezTo>
                  <a:cubicBezTo>
                    <a:pt x="1659335" y="3501243"/>
                    <a:pt x="1594857" y="3436765"/>
                    <a:pt x="1515319" y="3436765"/>
                  </a:cubicBezTo>
                  <a:close/>
                  <a:moveTo>
                    <a:pt x="1106176" y="3436765"/>
                  </a:moveTo>
                  <a:cubicBezTo>
                    <a:pt x="1026638" y="3436765"/>
                    <a:pt x="962160" y="3501243"/>
                    <a:pt x="962160" y="3580781"/>
                  </a:cubicBezTo>
                  <a:cubicBezTo>
                    <a:pt x="962160" y="3660319"/>
                    <a:pt x="1026638" y="3724797"/>
                    <a:pt x="1106176" y="3724797"/>
                  </a:cubicBezTo>
                  <a:cubicBezTo>
                    <a:pt x="1185714" y="3724797"/>
                    <a:pt x="1250192" y="3660319"/>
                    <a:pt x="1250192" y="3580781"/>
                  </a:cubicBezTo>
                  <a:cubicBezTo>
                    <a:pt x="1250192" y="3501243"/>
                    <a:pt x="1185714" y="3436765"/>
                    <a:pt x="1106176" y="3436765"/>
                  </a:cubicBezTo>
                  <a:close/>
                  <a:moveTo>
                    <a:pt x="697033" y="3436765"/>
                  </a:moveTo>
                  <a:cubicBezTo>
                    <a:pt x="617495" y="3436765"/>
                    <a:pt x="553017" y="3501243"/>
                    <a:pt x="553017" y="3580781"/>
                  </a:cubicBezTo>
                  <a:cubicBezTo>
                    <a:pt x="553017" y="3660319"/>
                    <a:pt x="617495" y="3724797"/>
                    <a:pt x="697033" y="3724797"/>
                  </a:cubicBezTo>
                  <a:cubicBezTo>
                    <a:pt x="776571" y="3724797"/>
                    <a:pt x="841049" y="3660319"/>
                    <a:pt x="841049" y="3580781"/>
                  </a:cubicBezTo>
                  <a:cubicBezTo>
                    <a:pt x="841049" y="3501243"/>
                    <a:pt x="776571" y="3436765"/>
                    <a:pt x="697033" y="3436765"/>
                  </a:cubicBezTo>
                  <a:close/>
                  <a:moveTo>
                    <a:pt x="287890" y="3436765"/>
                  </a:moveTo>
                  <a:cubicBezTo>
                    <a:pt x="208352" y="3436765"/>
                    <a:pt x="143874" y="3501243"/>
                    <a:pt x="143874" y="3580781"/>
                  </a:cubicBezTo>
                  <a:cubicBezTo>
                    <a:pt x="143874" y="3660319"/>
                    <a:pt x="208352" y="3724797"/>
                    <a:pt x="287890" y="3724797"/>
                  </a:cubicBezTo>
                  <a:cubicBezTo>
                    <a:pt x="367428" y="3724797"/>
                    <a:pt x="431906" y="3660319"/>
                    <a:pt x="431906" y="3580781"/>
                  </a:cubicBezTo>
                  <a:cubicBezTo>
                    <a:pt x="431906" y="3501243"/>
                    <a:pt x="367428" y="3436765"/>
                    <a:pt x="287890" y="3436765"/>
                  </a:cubicBezTo>
                  <a:close/>
                  <a:moveTo>
                    <a:pt x="3969476" y="3021542"/>
                  </a:moveTo>
                  <a:cubicBezTo>
                    <a:pt x="3889938" y="3021542"/>
                    <a:pt x="3825460" y="3086020"/>
                    <a:pt x="3825460" y="3165558"/>
                  </a:cubicBezTo>
                  <a:cubicBezTo>
                    <a:pt x="3825460" y="3245096"/>
                    <a:pt x="3889938" y="3309574"/>
                    <a:pt x="3969476" y="3309574"/>
                  </a:cubicBezTo>
                  <a:cubicBezTo>
                    <a:pt x="4049014" y="3309574"/>
                    <a:pt x="4113492" y="3245096"/>
                    <a:pt x="4113492" y="3165558"/>
                  </a:cubicBezTo>
                  <a:cubicBezTo>
                    <a:pt x="4113492" y="3086020"/>
                    <a:pt x="4049014" y="3021542"/>
                    <a:pt x="3969476" y="3021542"/>
                  </a:cubicBezTo>
                  <a:close/>
                  <a:moveTo>
                    <a:pt x="3560334" y="3021542"/>
                  </a:moveTo>
                  <a:cubicBezTo>
                    <a:pt x="3480796" y="3021542"/>
                    <a:pt x="3416318" y="3086020"/>
                    <a:pt x="3416318" y="3165558"/>
                  </a:cubicBezTo>
                  <a:cubicBezTo>
                    <a:pt x="3416318" y="3245096"/>
                    <a:pt x="3480796" y="3309574"/>
                    <a:pt x="3560334" y="3309574"/>
                  </a:cubicBezTo>
                  <a:cubicBezTo>
                    <a:pt x="3639872" y="3309574"/>
                    <a:pt x="3704350" y="3245096"/>
                    <a:pt x="3704350" y="3165558"/>
                  </a:cubicBezTo>
                  <a:cubicBezTo>
                    <a:pt x="3704350" y="3086020"/>
                    <a:pt x="3639872" y="3021542"/>
                    <a:pt x="3560334" y="3021542"/>
                  </a:cubicBezTo>
                  <a:close/>
                  <a:moveTo>
                    <a:pt x="3151191" y="3021542"/>
                  </a:moveTo>
                  <a:cubicBezTo>
                    <a:pt x="3071653" y="3021542"/>
                    <a:pt x="3007175" y="3086020"/>
                    <a:pt x="3007175" y="3165558"/>
                  </a:cubicBezTo>
                  <a:cubicBezTo>
                    <a:pt x="3007175" y="3245096"/>
                    <a:pt x="3071653" y="3309574"/>
                    <a:pt x="3151191" y="3309574"/>
                  </a:cubicBezTo>
                  <a:cubicBezTo>
                    <a:pt x="3230729" y="3309574"/>
                    <a:pt x="3295207" y="3245096"/>
                    <a:pt x="3295207" y="3165558"/>
                  </a:cubicBezTo>
                  <a:cubicBezTo>
                    <a:pt x="3295207" y="3086020"/>
                    <a:pt x="3230729" y="3021542"/>
                    <a:pt x="3151191" y="3021542"/>
                  </a:cubicBezTo>
                  <a:close/>
                  <a:moveTo>
                    <a:pt x="2742048" y="3021542"/>
                  </a:moveTo>
                  <a:cubicBezTo>
                    <a:pt x="2662510" y="3021542"/>
                    <a:pt x="2598032" y="3086020"/>
                    <a:pt x="2598032" y="3165558"/>
                  </a:cubicBezTo>
                  <a:cubicBezTo>
                    <a:pt x="2598032" y="3245096"/>
                    <a:pt x="2662510" y="3309574"/>
                    <a:pt x="2742048" y="3309574"/>
                  </a:cubicBezTo>
                  <a:cubicBezTo>
                    <a:pt x="2821586" y="3309574"/>
                    <a:pt x="2886064" y="3245096"/>
                    <a:pt x="2886064" y="3165558"/>
                  </a:cubicBezTo>
                  <a:cubicBezTo>
                    <a:pt x="2886064" y="3086020"/>
                    <a:pt x="2821586" y="3021542"/>
                    <a:pt x="2742048" y="3021542"/>
                  </a:cubicBezTo>
                  <a:close/>
                  <a:moveTo>
                    <a:pt x="2332905" y="3021542"/>
                  </a:moveTo>
                  <a:cubicBezTo>
                    <a:pt x="2253367" y="3021542"/>
                    <a:pt x="2188889" y="3086020"/>
                    <a:pt x="2188889" y="3165558"/>
                  </a:cubicBezTo>
                  <a:cubicBezTo>
                    <a:pt x="2188889" y="3245096"/>
                    <a:pt x="2253367" y="3309574"/>
                    <a:pt x="2332905" y="3309574"/>
                  </a:cubicBezTo>
                  <a:cubicBezTo>
                    <a:pt x="2412443" y="3309574"/>
                    <a:pt x="2476921" y="3245096"/>
                    <a:pt x="2476921" y="3165558"/>
                  </a:cubicBezTo>
                  <a:cubicBezTo>
                    <a:pt x="2476921" y="3086020"/>
                    <a:pt x="2412443" y="3021542"/>
                    <a:pt x="2332905" y="3021542"/>
                  </a:cubicBezTo>
                  <a:close/>
                  <a:moveTo>
                    <a:pt x="1923762" y="3021542"/>
                  </a:moveTo>
                  <a:cubicBezTo>
                    <a:pt x="1844224" y="3021542"/>
                    <a:pt x="1779746" y="3086020"/>
                    <a:pt x="1779746" y="3165558"/>
                  </a:cubicBezTo>
                  <a:cubicBezTo>
                    <a:pt x="1779746" y="3245096"/>
                    <a:pt x="1844224" y="3309574"/>
                    <a:pt x="1923762" y="3309574"/>
                  </a:cubicBezTo>
                  <a:cubicBezTo>
                    <a:pt x="2003300" y="3309574"/>
                    <a:pt x="2067778" y="3245096"/>
                    <a:pt x="2067778" y="3165558"/>
                  </a:cubicBezTo>
                  <a:cubicBezTo>
                    <a:pt x="2067778" y="3086020"/>
                    <a:pt x="2003300" y="3021542"/>
                    <a:pt x="1923762" y="3021542"/>
                  </a:cubicBezTo>
                  <a:close/>
                  <a:moveTo>
                    <a:pt x="1514619" y="3021542"/>
                  </a:moveTo>
                  <a:cubicBezTo>
                    <a:pt x="1435081" y="3021542"/>
                    <a:pt x="1370603" y="3086020"/>
                    <a:pt x="1370603" y="3165558"/>
                  </a:cubicBezTo>
                  <a:cubicBezTo>
                    <a:pt x="1370603" y="3245096"/>
                    <a:pt x="1435081" y="3309574"/>
                    <a:pt x="1514619" y="3309574"/>
                  </a:cubicBezTo>
                  <a:cubicBezTo>
                    <a:pt x="1594157" y="3309574"/>
                    <a:pt x="1658635" y="3245096"/>
                    <a:pt x="1658635" y="3165558"/>
                  </a:cubicBezTo>
                  <a:cubicBezTo>
                    <a:pt x="1658635" y="3086020"/>
                    <a:pt x="1594157" y="3021542"/>
                    <a:pt x="1514619" y="3021542"/>
                  </a:cubicBezTo>
                  <a:close/>
                  <a:moveTo>
                    <a:pt x="1105476" y="3021542"/>
                  </a:moveTo>
                  <a:cubicBezTo>
                    <a:pt x="1025938" y="3021542"/>
                    <a:pt x="961460" y="3086020"/>
                    <a:pt x="961460" y="3165558"/>
                  </a:cubicBezTo>
                  <a:cubicBezTo>
                    <a:pt x="961460" y="3245096"/>
                    <a:pt x="1025938" y="3309574"/>
                    <a:pt x="1105476" y="3309574"/>
                  </a:cubicBezTo>
                  <a:cubicBezTo>
                    <a:pt x="1185014" y="3309574"/>
                    <a:pt x="1249492" y="3245096"/>
                    <a:pt x="1249492" y="3165558"/>
                  </a:cubicBezTo>
                  <a:cubicBezTo>
                    <a:pt x="1249492" y="3086020"/>
                    <a:pt x="1185014" y="3021542"/>
                    <a:pt x="1105476" y="3021542"/>
                  </a:cubicBezTo>
                  <a:close/>
                  <a:moveTo>
                    <a:pt x="696333" y="3021542"/>
                  </a:moveTo>
                  <a:cubicBezTo>
                    <a:pt x="616795" y="3021542"/>
                    <a:pt x="552317" y="3086020"/>
                    <a:pt x="552317" y="3165558"/>
                  </a:cubicBezTo>
                  <a:cubicBezTo>
                    <a:pt x="552317" y="3245096"/>
                    <a:pt x="616795" y="3309574"/>
                    <a:pt x="696333" y="3309574"/>
                  </a:cubicBezTo>
                  <a:cubicBezTo>
                    <a:pt x="775871" y="3309574"/>
                    <a:pt x="840349" y="3245096"/>
                    <a:pt x="840349" y="3165558"/>
                  </a:cubicBezTo>
                  <a:cubicBezTo>
                    <a:pt x="840349" y="3086020"/>
                    <a:pt x="775871" y="3021542"/>
                    <a:pt x="696333" y="3021542"/>
                  </a:cubicBezTo>
                  <a:close/>
                  <a:moveTo>
                    <a:pt x="287190" y="3021542"/>
                  </a:moveTo>
                  <a:cubicBezTo>
                    <a:pt x="207652" y="3021542"/>
                    <a:pt x="143174" y="3086020"/>
                    <a:pt x="143174" y="3165558"/>
                  </a:cubicBezTo>
                  <a:cubicBezTo>
                    <a:pt x="143174" y="3245096"/>
                    <a:pt x="207652" y="3309574"/>
                    <a:pt x="287190" y="3309574"/>
                  </a:cubicBezTo>
                  <a:cubicBezTo>
                    <a:pt x="366728" y="3309574"/>
                    <a:pt x="431206" y="3245096"/>
                    <a:pt x="431206" y="3165558"/>
                  </a:cubicBezTo>
                  <a:cubicBezTo>
                    <a:pt x="431206" y="3086020"/>
                    <a:pt x="366728" y="3021542"/>
                    <a:pt x="287190" y="3021542"/>
                  </a:cubicBezTo>
                  <a:close/>
                  <a:moveTo>
                    <a:pt x="3968776" y="2606319"/>
                  </a:moveTo>
                  <a:cubicBezTo>
                    <a:pt x="3889238" y="2606319"/>
                    <a:pt x="3824760" y="2670797"/>
                    <a:pt x="3824760" y="2750335"/>
                  </a:cubicBezTo>
                  <a:cubicBezTo>
                    <a:pt x="3824760" y="2829873"/>
                    <a:pt x="3889238" y="2894351"/>
                    <a:pt x="3968776" y="2894351"/>
                  </a:cubicBezTo>
                  <a:cubicBezTo>
                    <a:pt x="4048314" y="2894351"/>
                    <a:pt x="4112792" y="2829873"/>
                    <a:pt x="4112792" y="2750335"/>
                  </a:cubicBezTo>
                  <a:cubicBezTo>
                    <a:pt x="4112792" y="2670797"/>
                    <a:pt x="4048314" y="2606319"/>
                    <a:pt x="3968776" y="2606319"/>
                  </a:cubicBezTo>
                  <a:close/>
                  <a:moveTo>
                    <a:pt x="3559634" y="2606319"/>
                  </a:moveTo>
                  <a:cubicBezTo>
                    <a:pt x="3480096" y="2606319"/>
                    <a:pt x="3415618" y="2670797"/>
                    <a:pt x="3415618" y="2750335"/>
                  </a:cubicBezTo>
                  <a:cubicBezTo>
                    <a:pt x="3415618" y="2829873"/>
                    <a:pt x="3480096" y="2894351"/>
                    <a:pt x="3559634" y="2894351"/>
                  </a:cubicBezTo>
                  <a:cubicBezTo>
                    <a:pt x="3639172" y="2894351"/>
                    <a:pt x="3703650" y="2829873"/>
                    <a:pt x="3703650" y="2750335"/>
                  </a:cubicBezTo>
                  <a:cubicBezTo>
                    <a:pt x="3703650" y="2670797"/>
                    <a:pt x="3639172" y="2606319"/>
                    <a:pt x="3559634" y="2606319"/>
                  </a:cubicBezTo>
                  <a:close/>
                  <a:moveTo>
                    <a:pt x="3150491" y="2606319"/>
                  </a:moveTo>
                  <a:cubicBezTo>
                    <a:pt x="3070953" y="2606319"/>
                    <a:pt x="3006475" y="2670797"/>
                    <a:pt x="3006475" y="2750335"/>
                  </a:cubicBezTo>
                  <a:cubicBezTo>
                    <a:pt x="3006475" y="2829873"/>
                    <a:pt x="3070953" y="2894351"/>
                    <a:pt x="3150491" y="2894351"/>
                  </a:cubicBezTo>
                  <a:cubicBezTo>
                    <a:pt x="3230029" y="2894351"/>
                    <a:pt x="3294507" y="2829873"/>
                    <a:pt x="3294507" y="2750335"/>
                  </a:cubicBezTo>
                  <a:cubicBezTo>
                    <a:pt x="3294507" y="2670797"/>
                    <a:pt x="3230029" y="2606319"/>
                    <a:pt x="3150491" y="2606319"/>
                  </a:cubicBezTo>
                  <a:close/>
                  <a:moveTo>
                    <a:pt x="2741348" y="2606319"/>
                  </a:moveTo>
                  <a:cubicBezTo>
                    <a:pt x="2661810" y="2606319"/>
                    <a:pt x="2597332" y="2670797"/>
                    <a:pt x="2597332" y="2750335"/>
                  </a:cubicBezTo>
                  <a:cubicBezTo>
                    <a:pt x="2597332" y="2829873"/>
                    <a:pt x="2661810" y="2894351"/>
                    <a:pt x="2741348" y="2894351"/>
                  </a:cubicBezTo>
                  <a:cubicBezTo>
                    <a:pt x="2820886" y="2894351"/>
                    <a:pt x="2885364" y="2829873"/>
                    <a:pt x="2885364" y="2750335"/>
                  </a:cubicBezTo>
                  <a:cubicBezTo>
                    <a:pt x="2885364" y="2670797"/>
                    <a:pt x="2820886" y="2606319"/>
                    <a:pt x="2741348" y="2606319"/>
                  </a:cubicBezTo>
                  <a:close/>
                  <a:moveTo>
                    <a:pt x="2332205" y="2606319"/>
                  </a:moveTo>
                  <a:cubicBezTo>
                    <a:pt x="2252667" y="2606319"/>
                    <a:pt x="2188189" y="2670797"/>
                    <a:pt x="2188189" y="2750335"/>
                  </a:cubicBezTo>
                  <a:cubicBezTo>
                    <a:pt x="2188189" y="2829873"/>
                    <a:pt x="2252667" y="2894351"/>
                    <a:pt x="2332205" y="2894351"/>
                  </a:cubicBezTo>
                  <a:cubicBezTo>
                    <a:pt x="2411743" y="2894351"/>
                    <a:pt x="2476221" y="2829873"/>
                    <a:pt x="2476221" y="2750335"/>
                  </a:cubicBezTo>
                  <a:cubicBezTo>
                    <a:pt x="2476221" y="2670797"/>
                    <a:pt x="2411743" y="2606319"/>
                    <a:pt x="2332205" y="2606319"/>
                  </a:cubicBezTo>
                  <a:close/>
                  <a:moveTo>
                    <a:pt x="1923062" y="2606319"/>
                  </a:moveTo>
                  <a:cubicBezTo>
                    <a:pt x="1843524" y="2606319"/>
                    <a:pt x="1779046" y="2670797"/>
                    <a:pt x="1779046" y="2750335"/>
                  </a:cubicBezTo>
                  <a:cubicBezTo>
                    <a:pt x="1779046" y="2829873"/>
                    <a:pt x="1843524" y="2894351"/>
                    <a:pt x="1923062" y="2894351"/>
                  </a:cubicBezTo>
                  <a:cubicBezTo>
                    <a:pt x="2002600" y="2894351"/>
                    <a:pt x="2067078" y="2829873"/>
                    <a:pt x="2067078" y="2750335"/>
                  </a:cubicBezTo>
                  <a:cubicBezTo>
                    <a:pt x="2067078" y="2670797"/>
                    <a:pt x="2002600" y="2606319"/>
                    <a:pt x="1923062" y="2606319"/>
                  </a:cubicBezTo>
                  <a:close/>
                  <a:moveTo>
                    <a:pt x="1513919" y="2606319"/>
                  </a:moveTo>
                  <a:cubicBezTo>
                    <a:pt x="1434381" y="2606319"/>
                    <a:pt x="1369903" y="2670797"/>
                    <a:pt x="1369903" y="2750335"/>
                  </a:cubicBezTo>
                  <a:cubicBezTo>
                    <a:pt x="1369903" y="2829873"/>
                    <a:pt x="1434381" y="2894351"/>
                    <a:pt x="1513919" y="2894351"/>
                  </a:cubicBezTo>
                  <a:cubicBezTo>
                    <a:pt x="1593457" y="2894351"/>
                    <a:pt x="1657935" y="2829873"/>
                    <a:pt x="1657935" y="2750335"/>
                  </a:cubicBezTo>
                  <a:cubicBezTo>
                    <a:pt x="1657935" y="2670797"/>
                    <a:pt x="1593457" y="2606319"/>
                    <a:pt x="1513919" y="2606319"/>
                  </a:cubicBezTo>
                  <a:close/>
                  <a:moveTo>
                    <a:pt x="1104776" y="2606319"/>
                  </a:moveTo>
                  <a:cubicBezTo>
                    <a:pt x="1025238" y="2606319"/>
                    <a:pt x="960760" y="2670797"/>
                    <a:pt x="960760" y="2750335"/>
                  </a:cubicBezTo>
                  <a:cubicBezTo>
                    <a:pt x="960760" y="2829873"/>
                    <a:pt x="1025238" y="2894351"/>
                    <a:pt x="1104776" y="2894351"/>
                  </a:cubicBezTo>
                  <a:cubicBezTo>
                    <a:pt x="1184314" y="2894351"/>
                    <a:pt x="1248792" y="2829873"/>
                    <a:pt x="1248792" y="2750335"/>
                  </a:cubicBezTo>
                  <a:cubicBezTo>
                    <a:pt x="1248792" y="2670797"/>
                    <a:pt x="1184314" y="2606319"/>
                    <a:pt x="1104776" y="2606319"/>
                  </a:cubicBezTo>
                  <a:close/>
                  <a:moveTo>
                    <a:pt x="695633" y="2606319"/>
                  </a:moveTo>
                  <a:cubicBezTo>
                    <a:pt x="616095" y="2606319"/>
                    <a:pt x="551617" y="2670797"/>
                    <a:pt x="551617" y="2750335"/>
                  </a:cubicBezTo>
                  <a:cubicBezTo>
                    <a:pt x="551617" y="2829873"/>
                    <a:pt x="616095" y="2894351"/>
                    <a:pt x="695633" y="2894351"/>
                  </a:cubicBezTo>
                  <a:cubicBezTo>
                    <a:pt x="775171" y="2894351"/>
                    <a:pt x="839649" y="2829873"/>
                    <a:pt x="839649" y="2750335"/>
                  </a:cubicBezTo>
                  <a:cubicBezTo>
                    <a:pt x="839649" y="2670797"/>
                    <a:pt x="775171" y="2606319"/>
                    <a:pt x="695633" y="2606319"/>
                  </a:cubicBezTo>
                  <a:close/>
                  <a:moveTo>
                    <a:pt x="286490" y="2606319"/>
                  </a:moveTo>
                  <a:cubicBezTo>
                    <a:pt x="206952" y="2606319"/>
                    <a:pt x="142474" y="2670797"/>
                    <a:pt x="142474" y="2750335"/>
                  </a:cubicBezTo>
                  <a:cubicBezTo>
                    <a:pt x="142474" y="2829873"/>
                    <a:pt x="206952" y="2894351"/>
                    <a:pt x="286490" y="2894351"/>
                  </a:cubicBezTo>
                  <a:cubicBezTo>
                    <a:pt x="366028" y="2894351"/>
                    <a:pt x="430506" y="2829873"/>
                    <a:pt x="430506" y="2750335"/>
                  </a:cubicBezTo>
                  <a:cubicBezTo>
                    <a:pt x="430506" y="2670797"/>
                    <a:pt x="366028" y="2606319"/>
                    <a:pt x="286490" y="2606319"/>
                  </a:cubicBezTo>
                  <a:close/>
                  <a:moveTo>
                    <a:pt x="3968076" y="2191096"/>
                  </a:moveTo>
                  <a:cubicBezTo>
                    <a:pt x="3888538" y="2191096"/>
                    <a:pt x="3824060" y="2255574"/>
                    <a:pt x="3824060" y="2335112"/>
                  </a:cubicBezTo>
                  <a:cubicBezTo>
                    <a:pt x="3824060" y="2414650"/>
                    <a:pt x="3888538" y="2479128"/>
                    <a:pt x="3968076" y="2479128"/>
                  </a:cubicBezTo>
                  <a:cubicBezTo>
                    <a:pt x="4047614" y="2479128"/>
                    <a:pt x="4112092" y="2414650"/>
                    <a:pt x="4112092" y="2335112"/>
                  </a:cubicBezTo>
                  <a:cubicBezTo>
                    <a:pt x="4112092" y="2255574"/>
                    <a:pt x="4047614" y="2191096"/>
                    <a:pt x="3968076" y="2191096"/>
                  </a:cubicBezTo>
                  <a:close/>
                  <a:moveTo>
                    <a:pt x="3558934" y="2191096"/>
                  </a:moveTo>
                  <a:cubicBezTo>
                    <a:pt x="3479396" y="2191096"/>
                    <a:pt x="3414918" y="2255574"/>
                    <a:pt x="3414918" y="2335112"/>
                  </a:cubicBezTo>
                  <a:cubicBezTo>
                    <a:pt x="3414918" y="2414650"/>
                    <a:pt x="3479396" y="2479128"/>
                    <a:pt x="3558934" y="2479128"/>
                  </a:cubicBezTo>
                  <a:cubicBezTo>
                    <a:pt x="3638472" y="2479128"/>
                    <a:pt x="3702950" y="2414650"/>
                    <a:pt x="3702950" y="2335112"/>
                  </a:cubicBezTo>
                  <a:cubicBezTo>
                    <a:pt x="3702950" y="2255574"/>
                    <a:pt x="3638472" y="2191096"/>
                    <a:pt x="3558934" y="2191096"/>
                  </a:cubicBezTo>
                  <a:close/>
                  <a:moveTo>
                    <a:pt x="3149791" y="2191096"/>
                  </a:moveTo>
                  <a:cubicBezTo>
                    <a:pt x="3070253" y="2191096"/>
                    <a:pt x="3005775" y="2255574"/>
                    <a:pt x="3005775" y="2335112"/>
                  </a:cubicBezTo>
                  <a:cubicBezTo>
                    <a:pt x="3005775" y="2414650"/>
                    <a:pt x="3070253" y="2479128"/>
                    <a:pt x="3149791" y="2479128"/>
                  </a:cubicBezTo>
                  <a:cubicBezTo>
                    <a:pt x="3229329" y="2479128"/>
                    <a:pt x="3293807" y="2414650"/>
                    <a:pt x="3293807" y="2335112"/>
                  </a:cubicBezTo>
                  <a:cubicBezTo>
                    <a:pt x="3293807" y="2255574"/>
                    <a:pt x="3229329" y="2191096"/>
                    <a:pt x="3149791" y="2191096"/>
                  </a:cubicBezTo>
                  <a:close/>
                  <a:moveTo>
                    <a:pt x="2740648" y="2191096"/>
                  </a:moveTo>
                  <a:cubicBezTo>
                    <a:pt x="2661110" y="2191096"/>
                    <a:pt x="2596632" y="2255574"/>
                    <a:pt x="2596632" y="2335112"/>
                  </a:cubicBezTo>
                  <a:cubicBezTo>
                    <a:pt x="2596632" y="2414650"/>
                    <a:pt x="2661110" y="2479128"/>
                    <a:pt x="2740648" y="2479128"/>
                  </a:cubicBezTo>
                  <a:cubicBezTo>
                    <a:pt x="2820186" y="2479128"/>
                    <a:pt x="2884664" y="2414650"/>
                    <a:pt x="2884664" y="2335112"/>
                  </a:cubicBezTo>
                  <a:cubicBezTo>
                    <a:pt x="2884664" y="2255574"/>
                    <a:pt x="2820186" y="2191096"/>
                    <a:pt x="2740648" y="2191096"/>
                  </a:cubicBezTo>
                  <a:close/>
                  <a:moveTo>
                    <a:pt x="2331505" y="2191096"/>
                  </a:moveTo>
                  <a:cubicBezTo>
                    <a:pt x="2251967" y="2191096"/>
                    <a:pt x="2187489" y="2255574"/>
                    <a:pt x="2187489" y="2335112"/>
                  </a:cubicBezTo>
                  <a:cubicBezTo>
                    <a:pt x="2187489" y="2414650"/>
                    <a:pt x="2251967" y="2479128"/>
                    <a:pt x="2331505" y="2479128"/>
                  </a:cubicBezTo>
                  <a:cubicBezTo>
                    <a:pt x="2411043" y="2479128"/>
                    <a:pt x="2475521" y="2414650"/>
                    <a:pt x="2475521" y="2335112"/>
                  </a:cubicBezTo>
                  <a:cubicBezTo>
                    <a:pt x="2475521" y="2255574"/>
                    <a:pt x="2411043" y="2191096"/>
                    <a:pt x="2331505" y="2191096"/>
                  </a:cubicBezTo>
                  <a:close/>
                  <a:moveTo>
                    <a:pt x="1922362" y="2191096"/>
                  </a:moveTo>
                  <a:cubicBezTo>
                    <a:pt x="1842824" y="2191096"/>
                    <a:pt x="1778346" y="2255574"/>
                    <a:pt x="1778346" y="2335112"/>
                  </a:cubicBezTo>
                  <a:cubicBezTo>
                    <a:pt x="1778346" y="2414650"/>
                    <a:pt x="1842824" y="2479128"/>
                    <a:pt x="1922362" y="2479128"/>
                  </a:cubicBezTo>
                  <a:cubicBezTo>
                    <a:pt x="2001900" y="2479128"/>
                    <a:pt x="2066378" y="2414650"/>
                    <a:pt x="2066378" y="2335112"/>
                  </a:cubicBezTo>
                  <a:cubicBezTo>
                    <a:pt x="2066378" y="2255574"/>
                    <a:pt x="2001900" y="2191096"/>
                    <a:pt x="1922362" y="2191096"/>
                  </a:cubicBezTo>
                  <a:close/>
                  <a:moveTo>
                    <a:pt x="1513219" y="2191096"/>
                  </a:moveTo>
                  <a:cubicBezTo>
                    <a:pt x="1433681" y="2191096"/>
                    <a:pt x="1369203" y="2255574"/>
                    <a:pt x="1369203" y="2335112"/>
                  </a:cubicBezTo>
                  <a:cubicBezTo>
                    <a:pt x="1369203" y="2414650"/>
                    <a:pt x="1433681" y="2479128"/>
                    <a:pt x="1513219" y="2479128"/>
                  </a:cubicBezTo>
                  <a:cubicBezTo>
                    <a:pt x="1592757" y="2479128"/>
                    <a:pt x="1657235" y="2414650"/>
                    <a:pt x="1657235" y="2335112"/>
                  </a:cubicBezTo>
                  <a:cubicBezTo>
                    <a:pt x="1657235" y="2255574"/>
                    <a:pt x="1592757" y="2191096"/>
                    <a:pt x="1513219" y="2191096"/>
                  </a:cubicBezTo>
                  <a:close/>
                  <a:moveTo>
                    <a:pt x="1104076" y="2191096"/>
                  </a:moveTo>
                  <a:cubicBezTo>
                    <a:pt x="1024538" y="2191096"/>
                    <a:pt x="960060" y="2255574"/>
                    <a:pt x="960060" y="2335112"/>
                  </a:cubicBezTo>
                  <a:cubicBezTo>
                    <a:pt x="960060" y="2414650"/>
                    <a:pt x="1024538" y="2479128"/>
                    <a:pt x="1104076" y="2479128"/>
                  </a:cubicBezTo>
                  <a:cubicBezTo>
                    <a:pt x="1183614" y="2479128"/>
                    <a:pt x="1248092" y="2414650"/>
                    <a:pt x="1248092" y="2335112"/>
                  </a:cubicBezTo>
                  <a:cubicBezTo>
                    <a:pt x="1248092" y="2255574"/>
                    <a:pt x="1183614" y="2191096"/>
                    <a:pt x="1104076" y="2191096"/>
                  </a:cubicBezTo>
                  <a:close/>
                  <a:moveTo>
                    <a:pt x="694933" y="2191096"/>
                  </a:moveTo>
                  <a:cubicBezTo>
                    <a:pt x="615395" y="2191096"/>
                    <a:pt x="550917" y="2255574"/>
                    <a:pt x="550917" y="2335112"/>
                  </a:cubicBezTo>
                  <a:cubicBezTo>
                    <a:pt x="550917" y="2414650"/>
                    <a:pt x="615395" y="2479128"/>
                    <a:pt x="694933" y="2479128"/>
                  </a:cubicBezTo>
                  <a:cubicBezTo>
                    <a:pt x="774471" y="2479128"/>
                    <a:pt x="838949" y="2414650"/>
                    <a:pt x="838949" y="2335112"/>
                  </a:cubicBezTo>
                  <a:cubicBezTo>
                    <a:pt x="838949" y="2255574"/>
                    <a:pt x="774471" y="2191096"/>
                    <a:pt x="694933" y="2191096"/>
                  </a:cubicBezTo>
                  <a:close/>
                  <a:moveTo>
                    <a:pt x="285790" y="2191096"/>
                  </a:moveTo>
                  <a:cubicBezTo>
                    <a:pt x="206252" y="2191096"/>
                    <a:pt x="141774" y="2255574"/>
                    <a:pt x="141774" y="2335112"/>
                  </a:cubicBezTo>
                  <a:cubicBezTo>
                    <a:pt x="141774" y="2414650"/>
                    <a:pt x="206252" y="2479128"/>
                    <a:pt x="285790" y="2479128"/>
                  </a:cubicBezTo>
                  <a:cubicBezTo>
                    <a:pt x="365328" y="2479128"/>
                    <a:pt x="429806" y="2414650"/>
                    <a:pt x="429806" y="2335112"/>
                  </a:cubicBezTo>
                  <a:cubicBezTo>
                    <a:pt x="429806" y="2255574"/>
                    <a:pt x="365328" y="2191096"/>
                    <a:pt x="285790" y="2191096"/>
                  </a:cubicBezTo>
                  <a:close/>
                  <a:moveTo>
                    <a:pt x="3967376" y="1775873"/>
                  </a:moveTo>
                  <a:cubicBezTo>
                    <a:pt x="3887838" y="1775873"/>
                    <a:pt x="3823360" y="1840351"/>
                    <a:pt x="3823360" y="1919889"/>
                  </a:cubicBezTo>
                  <a:cubicBezTo>
                    <a:pt x="3823360" y="1999427"/>
                    <a:pt x="3887838" y="2063905"/>
                    <a:pt x="3967376" y="2063905"/>
                  </a:cubicBezTo>
                  <a:cubicBezTo>
                    <a:pt x="4046914" y="2063905"/>
                    <a:pt x="4111392" y="1999427"/>
                    <a:pt x="4111392" y="1919889"/>
                  </a:cubicBezTo>
                  <a:cubicBezTo>
                    <a:pt x="4111392" y="1840351"/>
                    <a:pt x="4046914" y="1775873"/>
                    <a:pt x="3967376" y="1775873"/>
                  </a:cubicBezTo>
                  <a:close/>
                  <a:moveTo>
                    <a:pt x="3558234" y="1775873"/>
                  </a:moveTo>
                  <a:cubicBezTo>
                    <a:pt x="3478696" y="1775873"/>
                    <a:pt x="3414218" y="1840351"/>
                    <a:pt x="3414218" y="1919889"/>
                  </a:cubicBezTo>
                  <a:cubicBezTo>
                    <a:pt x="3414218" y="1999427"/>
                    <a:pt x="3478696" y="2063905"/>
                    <a:pt x="3558234" y="2063905"/>
                  </a:cubicBezTo>
                  <a:cubicBezTo>
                    <a:pt x="3637772" y="2063905"/>
                    <a:pt x="3702250" y="1999427"/>
                    <a:pt x="3702250" y="1919889"/>
                  </a:cubicBezTo>
                  <a:cubicBezTo>
                    <a:pt x="3702250" y="1840351"/>
                    <a:pt x="3637772" y="1775873"/>
                    <a:pt x="3558234" y="1775873"/>
                  </a:cubicBezTo>
                  <a:close/>
                  <a:moveTo>
                    <a:pt x="3149091" y="1775873"/>
                  </a:moveTo>
                  <a:cubicBezTo>
                    <a:pt x="3069553" y="1775873"/>
                    <a:pt x="3005075" y="1840351"/>
                    <a:pt x="3005075" y="1919889"/>
                  </a:cubicBezTo>
                  <a:cubicBezTo>
                    <a:pt x="3005075" y="1999427"/>
                    <a:pt x="3069553" y="2063905"/>
                    <a:pt x="3149091" y="2063905"/>
                  </a:cubicBezTo>
                  <a:cubicBezTo>
                    <a:pt x="3228629" y="2063905"/>
                    <a:pt x="3293107" y="1999427"/>
                    <a:pt x="3293107" y="1919889"/>
                  </a:cubicBezTo>
                  <a:cubicBezTo>
                    <a:pt x="3293107" y="1840351"/>
                    <a:pt x="3228629" y="1775873"/>
                    <a:pt x="3149091" y="1775873"/>
                  </a:cubicBezTo>
                  <a:close/>
                  <a:moveTo>
                    <a:pt x="2739948" y="1775873"/>
                  </a:moveTo>
                  <a:cubicBezTo>
                    <a:pt x="2660410" y="1775873"/>
                    <a:pt x="2595932" y="1840351"/>
                    <a:pt x="2595932" y="1919889"/>
                  </a:cubicBezTo>
                  <a:cubicBezTo>
                    <a:pt x="2595932" y="1999427"/>
                    <a:pt x="2660410" y="2063905"/>
                    <a:pt x="2739948" y="2063905"/>
                  </a:cubicBezTo>
                  <a:cubicBezTo>
                    <a:pt x="2819486" y="2063905"/>
                    <a:pt x="2883964" y="1999427"/>
                    <a:pt x="2883964" y="1919889"/>
                  </a:cubicBezTo>
                  <a:cubicBezTo>
                    <a:pt x="2883964" y="1840351"/>
                    <a:pt x="2819486" y="1775873"/>
                    <a:pt x="2739948" y="1775873"/>
                  </a:cubicBezTo>
                  <a:close/>
                  <a:moveTo>
                    <a:pt x="2330805" y="1775873"/>
                  </a:moveTo>
                  <a:cubicBezTo>
                    <a:pt x="2251267" y="1775873"/>
                    <a:pt x="2186789" y="1840351"/>
                    <a:pt x="2186789" y="1919889"/>
                  </a:cubicBezTo>
                  <a:cubicBezTo>
                    <a:pt x="2186789" y="1999427"/>
                    <a:pt x="2251267" y="2063905"/>
                    <a:pt x="2330805" y="2063905"/>
                  </a:cubicBezTo>
                  <a:cubicBezTo>
                    <a:pt x="2410343" y="2063905"/>
                    <a:pt x="2474821" y="1999427"/>
                    <a:pt x="2474821" y="1919889"/>
                  </a:cubicBezTo>
                  <a:cubicBezTo>
                    <a:pt x="2474821" y="1840351"/>
                    <a:pt x="2410343" y="1775873"/>
                    <a:pt x="2330805" y="1775873"/>
                  </a:cubicBezTo>
                  <a:close/>
                  <a:moveTo>
                    <a:pt x="1921662" y="1775873"/>
                  </a:moveTo>
                  <a:cubicBezTo>
                    <a:pt x="1842124" y="1775873"/>
                    <a:pt x="1777646" y="1840351"/>
                    <a:pt x="1777646" y="1919889"/>
                  </a:cubicBezTo>
                  <a:cubicBezTo>
                    <a:pt x="1777646" y="1999427"/>
                    <a:pt x="1842124" y="2063905"/>
                    <a:pt x="1921662" y="2063905"/>
                  </a:cubicBezTo>
                  <a:cubicBezTo>
                    <a:pt x="2001200" y="2063905"/>
                    <a:pt x="2065678" y="1999427"/>
                    <a:pt x="2065678" y="1919889"/>
                  </a:cubicBezTo>
                  <a:cubicBezTo>
                    <a:pt x="2065678" y="1840351"/>
                    <a:pt x="2001200" y="1775873"/>
                    <a:pt x="1921662" y="1775873"/>
                  </a:cubicBezTo>
                  <a:close/>
                  <a:moveTo>
                    <a:pt x="1512519" y="1775873"/>
                  </a:moveTo>
                  <a:cubicBezTo>
                    <a:pt x="1432981" y="1775873"/>
                    <a:pt x="1368503" y="1840351"/>
                    <a:pt x="1368503" y="1919889"/>
                  </a:cubicBezTo>
                  <a:cubicBezTo>
                    <a:pt x="1368503" y="1999427"/>
                    <a:pt x="1432981" y="2063905"/>
                    <a:pt x="1512519" y="2063905"/>
                  </a:cubicBezTo>
                  <a:cubicBezTo>
                    <a:pt x="1592057" y="2063905"/>
                    <a:pt x="1656535" y="1999427"/>
                    <a:pt x="1656535" y="1919889"/>
                  </a:cubicBezTo>
                  <a:cubicBezTo>
                    <a:pt x="1656535" y="1840351"/>
                    <a:pt x="1592057" y="1775873"/>
                    <a:pt x="1512519" y="1775873"/>
                  </a:cubicBezTo>
                  <a:close/>
                  <a:moveTo>
                    <a:pt x="1103376" y="1775873"/>
                  </a:moveTo>
                  <a:cubicBezTo>
                    <a:pt x="1023838" y="1775873"/>
                    <a:pt x="959360" y="1840351"/>
                    <a:pt x="959360" y="1919889"/>
                  </a:cubicBezTo>
                  <a:cubicBezTo>
                    <a:pt x="959360" y="1999427"/>
                    <a:pt x="1023838" y="2063905"/>
                    <a:pt x="1103376" y="2063905"/>
                  </a:cubicBezTo>
                  <a:cubicBezTo>
                    <a:pt x="1182914" y="2063905"/>
                    <a:pt x="1247392" y="1999427"/>
                    <a:pt x="1247392" y="1919889"/>
                  </a:cubicBezTo>
                  <a:cubicBezTo>
                    <a:pt x="1247392" y="1840351"/>
                    <a:pt x="1182914" y="1775873"/>
                    <a:pt x="1103376" y="1775873"/>
                  </a:cubicBezTo>
                  <a:close/>
                  <a:moveTo>
                    <a:pt x="694233" y="1775873"/>
                  </a:moveTo>
                  <a:cubicBezTo>
                    <a:pt x="614695" y="1775873"/>
                    <a:pt x="550217" y="1840351"/>
                    <a:pt x="550217" y="1919889"/>
                  </a:cubicBezTo>
                  <a:cubicBezTo>
                    <a:pt x="550217" y="1999427"/>
                    <a:pt x="614695" y="2063905"/>
                    <a:pt x="694233" y="2063905"/>
                  </a:cubicBezTo>
                  <a:cubicBezTo>
                    <a:pt x="773771" y="2063905"/>
                    <a:pt x="838249" y="1999427"/>
                    <a:pt x="838249" y="1919889"/>
                  </a:cubicBezTo>
                  <a:cubicBezTo>
                    <a:pt x="838249" y="1840351"/>
                    <a:pt x="773771" y="1775873"/>
                    <a:pt x="694233" y="1775873"/>
                  </a:cubicBezTo>
                  <a:close/>
                  <a:moveTo>
                    <a:pt x="285090" y="1775873"/>
                  </a:moveTo>
                  <a:cubicBezTo>
                    <a:pt x="205552" y="1775873"/>
                    <a:pt x="141074" y="1840351"/>
                    <a:pt x="141074" y="1919889"/>
                  </a:cubicBezTo>
                  <a:cubicBezTo>
                    <a:pt x="141074" y="1999427"/>
                    <a:pt x="205552" y="2063905"/>
                    <a:pt x="285090" y="2063905"/>
                  </a:cubicBezTo>
                  <a:cubicBezTo>
                    <a:pt x="364628" y="2063905"/>
                    <a:pt x="429106" y="1999427"/>
                    <a:pt x="429106" y="1919889"/>
                  </a:cubicBezTo>
                  <a:cubicBezTo>
                    <a:pt x="429106" y="1840351"/>
                    <a:pt x="364628" y="1775873"/>
                    <a:pt x="285090" y="1775873"/>
                  </a:cubicBezTo>
                  <a:close/>
                  <a:moveTo>
                    <a:pt x="3966676" y="1360650"/>
                  </a:moveTo>
                  <a:cubicBezTo>
                    <a:pt x="3887138" y="1360650"/>
                    <a:pt x="3822660" y="1425128"/>
                    <a:pt x="3822660" y="1504666"/>
                  </a:cubicBezTo>
                  <a:cubicBezTo>
                    <a:pt x="3822660" y="1584204"/>
                    <a:pt x="3887138" y="1648682"/>
                    <a:pt x="3966676" y="1648682"/>
                  </a:cubicBezTo>
                  <a:cubicBezTo>
                    <a:pt x="4046214" y="1648682"/>
                    <a:pt x="4110692" y="1584204"/>
                    <a:pt x="4110692" y="1504666"/>
                  </a:cubicBezTo>
                  <a:cubicBezTo>
                    <a:pt x="4110692" y="1425128"/>
                    <a:pt x="4046214" y="1360650"/>
                    <a:pt x="3966676" y="1360650"/>
                  </a:cubicBezTo>
                  <a:close/>
                  <a:moveTo>
                    <a:pt x="3557534" y="1360650"/>
                  </a:moveTo>
                  <a:cubicBezTo>
                    <a:pt x="3477996" y="1360650"/>
                    <a:pt x="3413518" y="1425128"/>
                    <a:pt x="3413518" y="1504666"/>
                  </a:cubicBezTo>
                  <a:cubicBezTo>
                    <a:pt x="3413518" y="1584204"/>
                    <a:pt x="3477996" y="1648682"/>
                    <a:pt x="3557534" y="1648682"/>
                  </a:cubicBezTo>
                  <a:cubicBezTo>
                    <a:pt x="3637072" y="1648682"/>
                    <a:pt x="3701550" y="1584204"/>
                    <a:pt x="3701550" y="1504666"/>
                  </a:cubicBezTo>
                  <a:cubicBezTo>
                    <a:pt x="3701550" y="1425128"/>
                    <a:pt x="3637072" y="1360650"/>
                    <a:pt x="3557534" y="1360650"/>
                  </a:cubicBezTo>
                  <a:close/>
                  <a:moveTo>
                    <a:pt x="3148391" y="1360650"/>
                  </a:moveTo>
                  <a:cubicBezTo>
                    <a:pt x="3068853" y="1360650"/>
                    <a:pt x="3004375" y="1425128"/>
                    <a:pt x="3004375" y="1504666"/>
                  </a:cubicBezTo>
                  <a:cubicBezTo>
                    <a:pt x="3004375" y="1584204"/>
                    <a:pt x="3068853" y="1648682"/>
                    <a:pt x="3148391" y="1648682"/>
                  </a:cubicBezTo>
                  <a:cubicBezTo>
                    <a:pt x="3227929" y="1648682"/>
                    <a:pt x="3292407" y="1584204"/>
                    <a:pt x="3292407" y="1504666"/>
                  </a:cubicBezTo>
                  <a:cubicBezTo>
                    <a:pt x="3292407" y="1425128"/>
                    <a:pt x="3227929" y="1360650"/>
                    <a:pt x="3148391" y="1360650"/>
                  </a:cubicBezTo>
                  <a:close/>
                  <a:moveTo>
                    <a:pt x="2739248" y="1360650"/>
                  </a:moveTo>
                  <a:cubicBezTo>
                    <a:pt x="2659710" y="1360650"/>
                    <a:pt x="2595232" y="1425128"/>
                    <a:pt x="2595232" y="1504666"/>
                  </a:cubicBezTo>
                  <a:cubicBezTo>
                    <a:pt x="2595232" y="1584204"/>
                    <a:pt x="2659710" y="1648682"/>
                    <a:pt x="2739248" y="1648682"/>
                  </a:cubicBezTo>
                  <a:cubicBezTo>
                    <a:pt x="2818786" y="1648682"/>
                    <a:pt x="2883264" y="1584204"/>
                    <a:pt x="2883264" y="1504666"/>
                  </a:cubicBezTo>
                  <a:cubicBezTo>
                    <a:pt x="2883264" y="1425128"/>
                    <a:pt x="2818786" y="1360650"/>
                    <a:pt x="2739248" y="1360650"/>
                  </a:cubicBezTo>
                  <a:close/>
                  <a:moveTo>
                    <a:pt x="2330105" y="1360650"/>
                  </a:moveTo>
                  <a:cubicBezTo>
                    <a:pt x="2250567" y="1360650"/>
                    <a:pt x="2186089" y="1425128"/>
                    <a:pt x="2186089" y="1504666"/>
                  </a:cubicBezTo>
                  <a:cubicBezTo>
                    <a:pt x="2186089" y="1584204"/>
                    <a:pt x="2250567" y="1648682"/>
                    <a:pt x="2330105" y="1648682"/>
                  </a:cubicBezTo>
                  <a:cubicBezTo>
                    <a:pt x="2409643" y="1648682"/>
                    <a:pt x="2474121" y="1584204"/>
                    <a:pt x="2474121" y="1504666"/>
                  </a:cubicBezTo>
                  <a:cubicBezTo>
                    <a:pt x="2474121" y="1425128"/>
                    <a:pt x="2409643" y="1360650"/>
                    <a:pt x="2330105" y="1360650"/>
                  </a:cubicBezTo>
                  <a:close/>
                  <a:moveTo>
                    <a:pt x="1920962" y="1360650"/>
                  </a:moveTo>
                  <a:cubicBezTo>
                    <a:pt x="1841424" y="1360650"/>
                    <a:pt x="1776946" y="1425128"/>
                    <a:pt x="1776946" y="1504666"/>
                  </a:cubicBezTo>
                  <a:cubicBezTo>
                    <a:pt x="1776946" y="1584204"/>
                    <a:pt x="1841424" y="1648682"/>
                    <a:pt x="1920962" y="1648682"/>
                  </a:cubicBezTo>
                  <a:cubicBezTo>
                    <a:pt x="2000500" y="1648682"/>
                    <a:pt x="2064978" y="1584204"/>
                    <a:pt x="2064978" y="1504666"/>
                  </a:cubicBezTo>
                  <a:cubicBezTo>
                    <a:pt x="2064978" y="1425128"/>
                    <a:pt x="2000500" y="1360650"/>
                    <a:pt x="1920962" y="1360650"/>
                  </a:cubicBezTo>
                  <a:close/>
                  <a:moveTo>
                    <a:pt x="1511819" y="1360650"/>
                  </a:moveTo>
                  <a:cubicBezTo>
                    <a:pt x="1432281" y="1360650"/>
                    <a:pt x="1367803" y="1425128"/>
                    <a:pt x="1367803" y="1504666"/>
                  </a:cubicBezTo>
                  <a:cubicBezTo>
                    <a:pt x="1367803" y="1584204"/>
                    <a:pt x="1432281" y="1648682"/>
                    <a:pt x="1511819" y="1648682"/>
                  </a:cubicBezTo>
                  <a:cubicBezTo>
                    <a:pt x="1591357" y="1648682"/>
                    <a:pt x="1655835" y="1584204"/>
                    <a:pt x="1655835" y="1504666"/>
                  </a:cubicBezTo>
                  <a:cubicBezTo>
                    <a:pt x="1655835" y="1425128"/>
                    <a:pt x="1591357" y="1360650"/>
                    <a:pt x="1511819" y="1360650"/>
                  </a:cubicBezTo>
                  <a:close/>
                  <a:moveTo>
                    <a:pt x="1102676" y="1360650"/>
                  </a:moveTo>
                  <a:cubicBezTo>
                    <a:pt x="1023138" y="1360650"/>
                    <a:pt x="958660" y="1425128"/>
                    <a:pt x="958660" y="1504666"/>
                  </a:cubicBezTo>
                  <a:cubicBezTo>
                    <a:pt x="958660" y="1584204"/>
                    <a:pt x="1023138" y="1648682"/>
                    <a:pt x="1102676" y="1648682"/>
                  </a:cubicBezTo>
                  <a:cubicBezTo>
                    <a:pt x="1182214" y="1648682"/>
                    <a:pt x="1246692" y="1584204"/>
                    <a:pt x="1246692" y="1504666"/>
                  </a:cubicBezTo>
                  <a:cubicBezTo>
                    <a:pt x="1246692" y="1425128"/>
                    <a:pt x="1182214" y="1360650"/>
                    <a:pt x="1102676" y="1360650"/>
                  </a:cubicBezTo>
                  <a:close/>
                  <a:moveTo>
                    <a:pt x="693533" y="1360650"/>
                  </a:moveTo>
                  <a:cubicBezTo>
                    <a:pt x="613995" y="1360650"/>
                    <a:pt x="549517" y="1425128"/>
                    <a:pt x="549517" y="1504666"/>
                  </a:cubicBezTo>
                  <a:cubicBezTo>
                    <a:pt x="549517" y="1584204"/>
                    <a:pt x="613995" y="1648682"/>
                    <a:pt x="693533" y="1648682"/>
                  </a:cubicBezTo>
                  <a:cubicBezTo>
                    <a:pt x="773071" y="1648682"/>
                    <a:pt x="837549" y="1584204"/>
                    <a:pt x="837549" y="1504666"/>
                  </a:cubicBezTo>
                  <a:cubicBezTo>
                    <a:pt x="837549" y="1425128"/>
                    <a:pt x="773071" y="1360650"/>
                    <a:pt x="693533" y="1360650"/>
                  </a:cubicBezTo>
                  <a:close/>
                  <a:moveTo>
                    <a:pt x="284390" y="1360650"/>
                  </a:moveTo>
                  <a:cubicBezTo>
                    <a:pt x="204852" y="1360650"/>
                    <a:pt x="140374" y="1425128"/>
                    <a:pt x="140374" y="1504666"/>
                  </a:cubicBezTo>
                  <a:cubicBezTo>
                    <a:pt x="140374" y="1584204"/>
                    <a:pt x="204852" y="1648682"/>
                    <a:pt x="284390" y="1648682"/>
                  </a:cubicBezTo>
                  <a:cubicBezTo>
                    <a:pt x="363928" y="1648682"/>
                    <a:pt x="428406" y="1584204"/>
                    <a:pt x="428406" y="1504666"/>
                  </a:cubicBezTo>
                  <a:cubicBezTo>
                    <a:pt x="428406" y="1425128"/>
                    <a:pt x="363928" y="1360650"/>
                    <a:pt x="284390" y="1360650"/>
                  </a:cubicBezTo>
                  <a:close/>
                  <a:moveTo>
                    <a:pt x="3965976" y="945427"/>
                  </a:moveTo>
                  <a:cubicBezTo>
                    <a:pt x="3886438" y="945427"/>
                    <a:pt x="3821960" y="1009905"/>
                    <a:pt x="3821960" y="1089443"/>
                  </a:cubicBezTo>
                  <a:cubicBezTo>
                    <a:pt x="3821960" y="1168981"/>
                    <a:pt x="3886438" y="1233459"/>
                    <a:pt x="3965976" y="1233459"/>
                  </a:cubicBezTo>
                  <a:cubicBezTo>
                    <a:pt x="4045514" y="1233459"/>
                    <a:pt x="4109992" y="1168981"/>
                    <a:pt x="4109992" y="1089443"/>
                  </a:cubicBezTo>
                  <a:cubicBezTo>
                    <a:pt x="4109992" y="1009905"/>
                    <a:pt x="4045514" y="945427"/>
                    <a:pt x="3965976" y="945427"/>
                  </a:cubicBezTo>
                  <a:close/>
                  <a:moveTo>
                    <a:pt x="3556834" y="945427"/>
                  </a:moveTo>
                  <a:cubicBezTo>
                    <a:pt x="3477296" y="945427"/>
                    <a:pt x="3412818" y="1009905"/>
                    <a:pt x="3412818" y="1089443"/>
                  </a:cubicBezTo>
                  <a:cubicBezTo>
                    <a:pt x="3412818" y="1168981"/>
                    <a:pt x="3477296" y="1233459"/>
                    <a:pt x="3556834" y="1233459"/>
                  </a:cubicBezTo>
                  <a:cubicBezTo>
                    <a:pt x="3636372" y="1233459"/>
                    <a:pt x="3700850" y="1168981"/>
                    <a:pt x="3700850" y="1089443"/>
                  </a:cubicBezTo>
                  <a:cubicBezTo>
                    <a:pt x="3700850" y="1009905"/>
                    <a:pt x="3636372" y="945427"/>
                    <a:pt x="3556834" y="945427"/>
                  </a:cubicBezTo>
                  <a:close/>
                  <a:moveTo>
                    <a:pt x="3147691" y="945427"/>
                  </a:moveTo>
                  <a:cubicBezTo>
                    <a:pt x="3068153" y="945427"/>
                    <a:pt x="3003675" y="1009905"/>
                    <a:pt x="3003675" y="1089443"/>
                  </a:cubicBezTo>
                  <a:cubicBezTo>
                    <a:pt x="3003675" y="1168981"/>
                    <a:pt x="3068153" y="1233459"/>
                    <a:pt x="3147691" y="1233459"/>
                  </a:cubicBezTo>
                  <a:cubicBezTo>
                    <a:pt x="3227229" y="1233459"/>
                    <a:pt x="3291707" y="1168981"/>
                    <a:pt x="3291707" y="1089443"/>
                  </a:cubicBezTo>
                  <a:cubicBezTo>
                    <a:pt x="3291707" y="1009905"/>
                    <a:pt x="3227229" y="945427"/>
                    <a:pt x="3147691" y="945427"/>
                  </a:cubicBezTo>
                  <a:close/>
                  <a:moveTo>
                    <a:pt x="2738548" y="945427"/>
                  </a:moveTo>
                  <a:cubicBezTo>
                    <a:pt x="2659010" y="945427"/>
                    <a:pt x="2594532" y="1009905"/>
                    <a:pt x="2594532" y="1089443"/>
                  </a:cubicBezTo>
                  <a:cubicBezTo>
                    <a:pt x="2594532" y="1168981"/>
                    <a:pt x="2659010" y="1233459"/>
                    <a:pt x="2738548" y="1233459"/>
                  </a:cubicBezTo>
                  <a:cubicBezTo>
                    <a:pt x="2818086" y="1233459"/>
                    <a:pt x="2882564" y="1168981"/>
                    <a:pt x="2882564" y="1089443"/>
                  </a:cubicBezTo>
                  <a:cubicBezTo>
                    <a:pt x="2882564" y="1009905"/>
                    <a:pt x="2818086" y="945427"/>
                    <a:pt x="2738548" y="945427"/>
                  </a:cubicBezTo>
                  <a:close/>
                  <a:moveTo>
                    <a:pt x="2329405" y="945427"/>
                  </a:moveTo>
                  <a:cubicBezTo>
                    <a:pt x="2249867" y="945427"/>
                    <a:pt x="2185389" y="1009905"/>
                    <a:pt x="2185389" y="1089443"/>
                  </a:cubicBezTo>
                  <a:cubicBezTo>
                    <a:pt x="2185389" y="1168981"/>
                    <a:pt x="2249867" y="1233459"/>
                    <a:pt x="2329405" y="1233459"/>
                  </a:cubicBezTo>
                  <a:cubicBezTo>
                    <a:pt x="2408943" y="1233459"/>
                    <a:pt x="2473421" y="1168981"/>
                    <a:pt x="2473421" y="1089443"/>
                  </a:cubicBezTo>
                  <a:cubicBezTo>
                    <a:pt x="2473421" y="1009905"/>
                    <a:pt x="2408943" y="945427"/>
                    <a:pt x="2329405" y="945427"/>
                  </a:cubicBezTo>
                  <a:close/>
                  <a:moveTo>
                    <a:pt x="1920262" y="945427"/>
                  </a:moveTo>
                  <a:cubicBezTo>
                    <a:pt x="1840724" y="945427"/>
                    <a:pt x="1776246" y="1009905"/>
                    <a:pt x="1776246" y="1089443"/>
                  </a:cubicBezTo>
                  <a:cubicBezTo>
                    <a:pt x="1776246" y="1168981"/>
                    <a:pt x="1840724" y="1233459"/>
                    <a:pt x="1920262" y="1233459"/>
                  </a:cubicBezTo>
                  <a:cubicBezTo>
                    <a:pt x="1999800" y="1233459"/>
                    <a:pt x="2064278" y="1168981"/>
                    <a:pt x="2064278" y="1089443"/>
                  </a:cubicBezTo>
                  <a:cubicBezTo>
                    <a:pt x="2064278" y="1009905"/>
                    <a:pt x="1999800" y="945427"/>
                    <a:pt x="1920262" y="945427"/>
                  </a:cubicBezTo>
                  <a:close/>
                  <a:moveTo>
                    <a:pt x="1511119" y="945427"/>
                  </a:moveTo>
                  <a:cubicBezTo>
                    <a:pt x="1431581" y="945427"/>
                    <a:pt x="1367103" y="1009905"/>
                    <a:pt x="1367103" y="1089443"/>
                  </a:cubicBezTo>
                  <a:cubicBezTo>
                    <a:pt x="1367103" y="1168981"/>
                    <a:pt x="1431581" y="1233459"/>
                    <a:pt x="1511119" y="1233459"/>
                  </a:cubicBezTo>
                  <a:cubicBezTo>
                    <a:pt x="1590657" y="1233459"/>
                    <a:pt x="1655135" y="1168981"/>
                    <a:pt x="1655135" y="1089443"/>
                  </a:cubicBezTo>
                  <a:cubicBezTo>
                    <a:pt x="1655135" y="1009905"/>
                    <a:pt x="1590657" y="945427"/>
                    <a:pt x="1511119" y="945427"/>
                  </a:cubicBezTo>
                  <a:close/>
                  <a:moveTo>
                    <a:pt x="1101976" y="945427"/>
                  </a:moveTo>
                  <a:cubicBezTo>
                    <a:pt x="1022438" y="945427"/>
                    <a:pt x="957960" y="1009905"/>
                    <a:pt x="957960" y="1089443"/>
                  </a:cubicBezTo>
                  <a:cubicBezTo>
                    <a:pt x="957960" y="1168981"/>
                    <a:pt x="1022438" y="1233459"/>
                    <a:pt x="1101976" y="1233459"/>
                  </a:cubicBezTo>
                  <a:cubicBezTo>
                    <a:pt x="1181514" y="1233459"/>
                    <a:pt x="1245992" y="1168981"/>
                    <a:pt x="1245992" y="1089443"/>
                  </a:cubicBezTo>
                  <a:cubicBezTo>
                    <a:pt x="1245992" y="1009905"/>
                    <a:pt x="1181514" y="945427"/>
                    <a:pt x="1101976" y="945427"/>
                  </a:cubicBezTo>
                  <a:close/>
                  <a:moveTo>
                    <a:pt x="692833" y="945427"/>
                  </a:moveTo>
                  <a:cubicBezTo>
                    <a:pt x="613295" y="945427"/>
                    <a:pt x="548817" y="1009905"/>
                    <a:pt x="548817" y="1089443"/>
                  </a:cubicBezTo>
                  <a:cubicBezTo>
                    <a:pt x="548817" y="1168981"/>
                    <a:pt x="613295" y="1233459"/>
                    <a:pt x="692833" y="1233459"/>
                  </a:cubicBezTo>
                  <a:cubicBezTo>
                    <a:pt x="772371" y="1233459"/>
                    <a:pt x="836849" y="1168981"/>
                    <a:pt x="836849" y="1089443"/>
                  </a:cubicBezTo>
                  <a:cubicBezTo>
                    <a:pt x="836849" y="1009905"/>
                    <a:pt x="772371" y="945427"/>
                    <a:pt x="692833" y="945427"/>
                  </a:cubicBezTo>
                  <a:close/>
                  <a:moveTo>
                    <a:pt x="283690" y="945427"/>
                  </a:moveTo>
                  <a:cubicBezTo>
                    <a:pt x="204152" y="945427"/>
                    <a:pt x="139674" y="1009905"/>
                    <a:pt x="139674" y="1089443"/>
                  </a:cubicBezTo>
                  <a:cubicBezTo>
                    <a:pt x="139674" y="1168981"/>
                    <a:pt x="204152" y="1233459"/>
                    <a:pt x="283690" y="1233459"/>
                  </a:cubicBezTo>
                  <a:cubicBezTo>
                    <a:pt x="363228" y="1233459"/>
                    <a:pt x="427706" y="1168981"/>
                    <a:pt x="427706" y="1089443"/>
                  </a:cubicBezTo>
                  <a:cubicBezTo>
                    <a:pt x="427706" y="1009905"/>
                    <a:pt x="363228" y="945427"/>
                    <a:pt x="283690" y="945427"/>
                  </a:cubicBezTo>
                  <a:close/>
                  <a:moveTo>
                    <a:pt x="3965276" y="530204"/>
                  </a:moveTo>
                  <a:cubicBezTo>
                    <a:pt x="3885738" y="530204"/>
                    <a:pt x="3821260" y="594682"/>
                    <a:pt x="3821260" y="674220"/>
                  </a:cubicBezTo>
                  <a:cubicBezTo>
                    <a:pt x="3821260" y="753758"/>
                    <a:pt x="3885738" y="818236"/>
                    <a:pt x="3965276" y="818236"/>
                  </a:cubicBezTo>
                  <a:cubicBezTo>
                    <a:pt x="4044814" y="818236"/>
                    <a:pt x="4109292" y="753758"/>
                    <a:pt x="4109292" y="674220"/>
                  </a:cubicBezTo>
                  <a:cubicBezTo>
                    <a:pt x="4109292" y="594682"/>
                    <a:pt x="4044814" y="530204"/>
                    <a:pt x="3965276" y="530204"/>
                  </a:cubicBezTo>
                  <a:close/>
                  <a:moveTo>
                    <a:pt x="3556134" y="530204"/>
                  </a:moveTo>
                  <a:cubicBezTo>
                    <a:pt x="3476596" y="530204"/>
                    <a:pt x="3412118" y="594682"/>
                    <a:pt x="3412118" y="674220"/>
                  </a:cubicBezTo>
                  <a:cubicBezTo>
                    <a:pt x="3412118" y="753758"/>
                    <a:pt x="3476596" y="818236"/>
                    <a:pt x="3556134" y="818236"/>
                  </a:cubicBezTo>
                  <a:cubicBezTo>
                    <a:pt x="3635672" y="818236"/>
                    <a:pt x="3700150" y="753758"/>
                    <a:pt x="3700150" y="674220"/>
                  </a:cubicBezTo>
                  <a:cubicBezTo>
                    <a:pt x="3700150" y="594682"/>
                    <a:pt x="3635672" y="530204"/>
                    <a:pt x="3556134" y="530204"/>
                  </a:cubicBezTo>
                  <a:close/>
                  <a:moveTo>
                    <a:pt x="3146991" y="530204"/>
                  </a:moveTo>
                  <a:cubicBezTo>
                    <a:pt x="3067453" y="530204"/>
                    <a:pt x="3002975" y="594682"/>
                    <a:pt x="3002975" y="674220"/>
                  </a:cubicBezTo>
                  <a:cubicBezTo>
                    <a:pt x="3002975" y="753758"/>
                    <a:pt x="3067453" y="818236"/>
                    <a:pt x="3146991" y="818236"/>
                  </a:cubicBezTo>
                  <a:cubicBezTo>
                    <a:pt x="3226529" y="818236"/>
                    <a:pt x="3291007" y="753758"/>
                    <a:pt x="3291007" y="674220"/>
                  </a:cubicBezTo>
                  <a:cubicBezTo>
                    <a:pt x="3291007" y="594682"/>
                    <a:pt x="3226529" y="530204"/>
                    <a:pt x="3146991" y="530204"/>
                  </a:cubicBezTo>
                  <a:close/>
                  <a:moveTo>
                    <a:pt x="2737848" y="530204"/>
                  </a:moveTo>
                  <a:cubicBezTo>
                    <a:pt x="2658310" y="530204"/>
                    <a:pt x="2593832" y="594682"/>
                    <a:pt x="2593832" y="674220"/>
                  </a:cubicBezTo>
                  <a:cubicBezTo>
                    <a:pt x="2593832" y="753758"/>
                    <a:pt x="2658310" y="818236"/>
                    <a:pt x="2737848" y="818236"/>
                  </a:cubicBezTo>
                  <a:cubicBezTo>
                    <a:pt x="2817386" y="818236"/>
                    <a:pt x="2881864" y="753758"/>
                    <a:pt x="2881864" y="674220"/>
                  </a:cubicBezTo>
                  <a:cubicBezTo>
                    <a:pt x="2881864" y="594682"/>
                    <a:pt x="2817386" y="530204"/>
                    <a:pt x="2737848" y="530204"/>
                  </a:cubicBezTo>
                  <a:close/>
                  <a:moveTo>
                    <a:pt x="2328705" y="530204"/>
                  </a:moveTo>
                  <a:cubicBezTo>
                    <a:pt x="2249167" y="530204"/>
                    <a:pt x="2184689" y="594682"/>
                    <a:pt x="2184689" y="674220"/>
                  </a:cubicBezTo>
                  <a:cubicBezTo>
                    <a:pt x="2184689" y="753758"/>
                    <a:pt x="2249167" y="818236"/>
                    <a:pt x="2328705" y="818236"/>
                  </a:cubicBezTo>
                  <a:cubicBezTo>
                    <a:pt x="2408243" y="818236"/>
                    <a:pt x="2472721" y="753758"/>
                    <a:pt x="2472721" y="674220"/>
                  </a:cubicBezTo>
                  <a:cubicBezTo>
                    <a:pt x="2472721" y="594682"/>
                    <a:pt x="2408243" y="530204"/>
                    <a:pt x="2328705" y="530204"/>
                  </a:cubicBezTo>
                  <a:close/>
                  <a:moveTo>
                    <a:pt x="1919562" y="530204"/>
                  </a:moveTo>
                  <a:cubicBezTo>
                    <a:pt x="1840024" y="530204"/>
                    <a:pt x="1775546" y="594682"/>
                    <a:pt x="1775546" y="674220"/>
                  </a:cubicBezTo>
                  <a:cubicBezTo>
                    <a:pt x="1775546" y="753758"/>
                    <a:pt x="1840024" y="818236"/>
                    <a:pt x="1919562" y="818236"/>
                  </a:cubicBezTo>
                  <a:cubicBezTo>
                    <a:pt x="1999100" y="818236"/>
                    <a:pt x="2063578" y="753758"/>
                    <a:pt x="2063578" y="674220"/>
                  </a:cubicBezTo>
                  <a:cubicBezTo>
                    <a:pt x="2063578" y="594682"/>
                    <a:pt x="1999100" y="530204"/>
                    <a:pt x="1919562" y="530204"/>
                  </a:cubicBezTo>
                  <a:close/>
                  <a:moveTo>
                    <a:pt x="1510419" y="530204"/>
                  </a:moveTo>
                  <a:cubicBezTo>
                    <a:pt x="1430881" y="530204"/>
                    <a:pt x="1366403" y="594682"/>
                    <a:pt x="1366403" y="674220"/>
                  </a:cubicBezTo>
                  <a:cubicBezTo>
                    <a:pt x="1366403" y="753758"/>
                    <a:pt x="1430881" y="818236"/>
                    <a:pt x="1510419" y="818236"/>
                  </a:cubicBezTo>
                  <a:cubicBezTo>
                    <a:pt x="1589957" y="818236"/>
                    <a:pt x="1654435" y="753758"/>
                    <a:pt x="1654435" y="674220"/>
                  </a:cubicBezTo>
                  <a:cubicBezTo>
                    <a:pt x="1654435" y="594682"/>
                    <a:pt x="1589957" y="530204"/>
                    <a:pt x="1510419" y="530204"/>
                  </a:cubicBezTo>
                  <a:close/>
                  <a:moveTo>
                    <a:pt x="1101276" y="530204"/>
                  </a:moveTo>
                  <a:cubicBezTo>
                    <a:pt x="1021738" y="530204"/>
                    <a:pt x="957260" y="594682"/>
                    <a:pt x="957260" y="674220"/>
                  </a:cubicBezTo>
                  <a:cubicBezTo>
                    <a:pt x="957260" y="753758"/>
                    <a:pt x="1021738" y="818236"/>
                    <a:pt x="1101276" y="818236"/>
                  </a:cubicBezTo>
                  <a:cubicBezTo>
                    <a:pt x="1180814" y="818236"/>
                    <a:pt x="1245292" y="753758"/>
                    <a:pt x="1245292" y="674220"/>
                  </a:cubicBezTo>
                  <a:cubicBezTo>
                    <a:pt x="1245292" y="594682"/>
                    <a:pt x="1180814" y="530204"/>
                    <a:pt x="1101276" y="530204"/>
                  </a:cubicBezTo>
                  <a:close/>
                  <a:moveTo>
                    <a:pt x="692133" y="530204"/>
                  </a:moveTo>
                  <a:cubicBezTo>
                    <a:pt x="612595" y="530204"/>
                    <a:pt x="548117" y="594682"/>
                    <a:pt x="548117" y="674220"/>
                  </a:cubicBezTo>
                  <a:cubicBezTo>
                    <a:pt x="548117" y="753758"/>
                    <a:pt x="612595" y="818236"/>
                    <a:pt x="692133" y="818236"/>
                  </a:cubicBezTo>
                  <a:cubicBezTo>
                    <a:pt x="771671" y="818236"/>
                    <a:pt x="836149" y="753758"/>
                    <a:pt x="836149" y="674220"/>
                  </a:cubicBezTo>
                  <a:cubicBezTo>
                    <a:pt x="836149" y="594682"/>
                    <a:pt x="771671" y="530204"/>
                    <a:pt x="692133" y="530204"/>
                  </a:cubicBezTo>
                  <a:close/>
                  <a:moveTo>
                    <a:pt x="282990" y="530204"/>
                  </a:moveTo>
                  <a:cubicBezTo>
                    <a:pt x="203452" y="530204"/>
                    <a:pt x="138974" y="594682"/>
                    <a:pt x="138974" y="674220"/>
                  </a:cubicBezTo>
                  <a:cubicBezTo>
                    <a:pt x="138974" y="753758"/>
                    <a:pt x="203452" y="818236"/>
                    <a:pt x="282990" y="818236"/>
                  </a:cubicBezTo>
                  <a:cubicBezTo>
                    <a:pt x="362528" y="818236"/>
                    <a:pt x="427006" y="753758"/>
                    <a:pt x="427006" y="674220"/>
                  </a:cubicBezTo>
                  <a:cubicBezTo>
                    <a:pt x="427006" y="594682"/>
                    <a:pt x="362528" y="530204"/>
                    <a:pt x="282990" y="530204"/>
                  </a:cubicBezTo>
                  <a:close/>
                  <a:moveTo>
                    <a:pt x="3964576" y="114981"/>
                  </a:moveTo>
                  <a:cubicBezTo>
                    <a:pt x="3885038" y="114981"/>
                    <a:pt x="3820560" y="179459"/>
                    <a:pt x="3820560" y="258997"/>
                  </a:cubicBezTo>
                  <a:cubicBezTo>
                    <a:pt x="3820560" y="338535"/>
                    <a:pt x="3885038" y="403013"/>
                    <a:pt x="3964576" y="403013"/>
                  </a:cubicBezTo>
                  <a:cubicBezTo>
                    <a:pt x="4044114" y="403013"/>
                    <a:pt x="4108592" y="338535"/>
                    <a:pt x="4108592" y="258997"/>
                  </a:cubicBezTo>
                  <a:cubicBezTo>
                    <a:pt x="4108592" y="179459"/>
                    <a:pt x="4044114" y="114981"/>
                    <a:pt x="3964576" y="114981"/>
                  </a:cubicBezTo>
                  <a:close/>
                  <a:moveTo>
                    <a:pt x="3555434" y="114981"/>
                  </a:moveTo>
                  <a:cubicBezTo>
                    <a:pt x="3475896" y="114981"/>
                    <a:pt x="3411418" y="179459"/>
                    <a:pt x="3411418" y="258997"/>
                  </a:cubicBezTo>
                  <a:cubicBezTo>
                    <a:pt x="3411418" y="338535"/>
                    <a:pt x="3475896" y="403013"/>
                    <a:pt x="3555434" y="403013"/>
                  </a:cubicBezTo>
                  <a:cubicBezTo>
                    <a:pt x="3634972" y="403013"/>
                    <a:pt x="3699450" y="338535"/>
                    <a:pt x="3699450" y="258997"/>
                  </a:cubicBezTo>
                  <a:cubicBezTo>
                    <a:pt x="3699450" y="179459"/>
                    <a:pt x="3634972" y="114981"/>
                    <a:pt x="3555434" y="114981"/>
                  </a:cubicBezTo>
                  <a:close/>
                  <a:moveTo>
                    <a:pt x="3146291" y="114981"/>
                  </a:moveTo>
                  <a:cubicBezTo>
                    <a:pt x="3066753" y="114981"/>
                    <a:pt x="3002275" y="179459"/>
                    <a:pt x="3002275" y="258997"/>
                  </a:cubicBezTo>
                  <a:cubicBezTo>
                    <a:pt x="3002275" y="338535"/>
                    <a:pt x="3066753" y="403013"/>
                    <a:pt x="3146291" y="403013"/>
                  </a:cubicBezTo>
                  <a:cubicBezTo>
                    <a:pt x="3225829" y="403013"/>
                    <a:pt x="3290307" y="338535"/>
                    <a:pt x="3290307" y="258997"/>
                  </a:cubicBezTo>
                  <a:cubicBezTo>
                    <a:pt x="3290307" y="179459"/>
                    <a:pt x="3225829" y="114981"/>
                    <a:pt x="3146291" y="114981"/>
                  </a:cubicBezTo>
                  <a:close/>
                  <a:moveTo>
                    <a:pt x="2737148" y="114981"/>
                  </a:moveTo>
                  <a:cubicBezTo>
                    <a:pt x="2657610" y="114981"/>
                    <a:pt x="2593132" y="179459"/>
                    <a:pt x="2593132" y="258997"/>
                  </a:cubicBezTo>
                  <a:cubicBezTo>
                    <a:pt x="2593132" y="338535"/>
                    <a:pt x="2657610" y="403013"/>
                    <a:pt x="2737148" y="403013"/>
                  </a:cubicBezTo>
                  <a:cubicBezTo>
                    <a:pt x="2816686" y="403013"/>
                    <a:pt x="2881164" y="338535"/>
                    <a:pt x="2881164" y="258997"/>
                  </a:cubicBezTo>
                  <a:cubicBezTo>
                    <a:pt x="2881164" y="179459"/>
                    <a:pt x="2816686" y="114981"/>
                    <a:pt x="2737148" y="114981"/>
                  </a:cubicBezTo>
                  <a:close/>
                  <a:moveTo>
                    <a:pt x="2328005" y="114981"/>
                  </a:moveTo>
                  <a:cubicBezTo>
                    <a:pt x="2248467" y="114981"/>
                    <a:pt x="2183989" y="179459"/>
                    <a:pt x="2183989" y="258997"/>
                  </a:cubicBezTo>
                  <a:cubicBezTo>
                    <a:pt x="2183989" y="338535"/>
                    <a:pt x="2248467" y="403013"/>
                    <a:pt x="2328005" y="403013"/>
                  </a:cubicBezTo>
                  <a:cubicBezTo>
                    <a:pt x="2407543" y="403013"/>
                    <a:pt x="2472021" y="338535"/>
                    <a:pt x="2472021" y="258997"/>
                  </a:cubicBezTo>
                  <a:cubicBezTo>
                    <a:pt x="2472021" y="179459"/>
                    <a:pt x="2407543" y="114981"/>
                    <a:pt x="2328005" y="114981"/>
                  </a:cubicBezTo>
                  <a:close/>
                  <a:moveTo>
                    <a:pt x="1918862" y="114981"/>
                  </a:moveTo>
                  <a:cubicBezTo>
                    <a:pt x="1839324" y="114981"/>
                    <a:pt x="1774846" y="179459"/>
                    <a:pt x="1774846" y="258997"/>
                  </a:cubicBezTo>
                  <a:cubicBezTo>
                    <a:pt x="1774846" y="338535"/>
                    <a:pt x="1839324" y="403013"/>
                    <a:pt x="1918862" y="403013"/>
                  </a:cubicBezTo>
                  <a:cubicBezTo>
                    <a:pt x="1998400" y="403013"/>
                    <a:pt x="2062878" y="338535"/>
                    <a:pt x="2062878" y="258997"/>
                  </a:cubicBezTo>
                  <a:cubicBezTo>
                    <a:pt x="2062878" y="179459"/>
                    <a:pt x="1998400" y="114981"/>
                    <a:pt x="1918862" y="114981"/>
                  </a:cubicBezTo>
                  <a:close/>
                  <a:moveTo>
                    <a:pt x="1509719" y="114981"/>
                  </a:moveTo>
                  <a:cubicBezTo>
                    <a:pt x="1430181" y="114981"/>
                    <a:pt x="1365703" y="179459"/>
                    <a:pt x="1365703" y="258997"/>
                  </a:cubicBezTo>
                  <a:cubicBezTo>
                    <a:pt x="1365703" y="338535"/>
                    <a:pt x="1430181" y="403013"/>
                    <a:pt x="1509719" y="403013"/>
                  </a:cubicBezTo>
                  <a:cubicBezTo>
                    <a:pt x="1589257" y="403013"/>
                    <a:pt x="1653735" y="338535"/>
                    <a:pt x="1653735" y="258997"/>
                  </a:cubicBezTo>
                  <a:cubicBezTo>
                    <a:pt x="1653735" y="179459"/>
                    <a:pt x="1589257" y="114981"/>
                    <a:pt x="1509719" y="114981"/>
                  </a:cubicBezTo>
                  <a:close/>
                  <a:moveTo>
                    <a:pt x="1100576" y="114981"/>
                  </a:moveTo>
                  <a:cubicBezTo>
                    <a:pt x="1021038" y="114981"/>
                    <a:pt x="956560" y="179459"/>
                    <a:pt x="956560" y="258997"/>
                  </a:cubicBezTo>
                  <a:cubicBezTo>
                    <a:pt x="956560" y="338535"/>
                    <a:pt x="1021038" y="403013"/>
                    <a:pt x="1100576" y="403013"/>
                  </a:cubicBezTo>
                  <a:cubicBezTo>
                    <a:pt x="1180114" y="403013"/>
                    <a:pt x="1244592" y="338535"/>
                    <a:pt x="1244592" y="258997"/>
                  </a:cubicBezTo>
                  <a:cubicBezTo>
                    <a:pt x="1244592" y="179459"/>
                    <a:pt x="1180114" y="114981"/>
                    <a:pt x="1100576" y="114981"/>
                  </a:cubicBezTo>
                  <a:close/>
                  <a:moveTo>
                    <a:pt x="691433" y="114981"/>
                  </a:moveTo>
                  <a:cubicBezTo>
                    <a:pt x="611895" y="114981"/>
                    <a:pt x="547417" y="179459"/>
                    <a:pt x="547417" y="258997"/>
                  </a:cubicBezTo>
                  <a:cubicBezTo>
                    <a:pt x="547417" y="338535"/>
                    <a:pt x="611895" y="403013"/>
                    <a:pt x="691433" y="403013"/>
                  </a:cubicBezTo>
                  <a:cubicBezTo>
                    <a:pt x="770971" y="403013"/>
                    <a:pt x="835449" y="338535"/>
                    <a:pt x="835449" y="258997"/>
                  </a:cubicBezTo>
                  <a:cubicBezTo>
                    <a:pt x="835449" y="179459"/>
                    <a:pt x="770971" y="114981"/>
                    <a:pt x="691433" y="114981"/>
                  </a:cubicBezTo>
                  <a:close/>
                  <a:moveTo>
                    <a:pt x="282290" y="114981"/>
                  </a:moveTo>
                  <a:cubicBezTo>
                    <a:pt x="202752" y="114981"/>
                    <a:pt x="138274" y="179459"/>
                    <a:pt x="138274" y="258997"/>
                  </a:cubicBezTo>
                  <a:cubicBezTo>
                    <a:pt x="138274" y="338535"/>
                    <a:pt x="202752" y="403013"/>
                    <a:pt x="282290" y="403013"/>
                  </a:cubicBezTo>
                  <a:cubicBezTo>
                    <a:pt x="361828" y="403013"/>
                    <a:pt x="426306" y="338535"/>
                    <a:pt x="426306" y="258997"/>
                  </a:cubicBezTo>
                  <a:cubicBezTo>
                    <a:pt x="426306" y="179459"/>
                    <a:pt x="361828" y="114981"/>
                    <a:pt x="282290" y="114981"/>
                  </a:cubicBezTo>
                  <a:close/>
                  <a:moveTo>
                    <a:pt x="0" y="0"/>
                  </a:moveTo>
                  <a:lnTo>
                    <a:pt x="4248472" y="0"/>
                  </a:lnTo>
                  <a:lnTo>
                    <a:pt x="4248472" y="4248472"/>
                  </a:lnTo>
                  <a:lnTo>
                    <a:pt x="0" y="4248472"/>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endParaRPr lang="en-US" dirty="0"/>
            </a:p>
          </p:txBody>
        </p:sp>
      </p:grpSp>
      <p:graphicFrame>
        <p:nvGraphicFramePr>
          <p:cNvPr id="26" name="Table 27">
            <a:extLst>
              <a:ext uri="{FF2B5EF4-FFF2-40B4-BE49-F238E27FC236}">
                <a16:creationId xmlns:a16="http://schemas.microsoft.com/office/drawing/2014/main" id="{09F86B34-6505-401F-BCDB-EF3AB4B4907E}"/>
              </a:ext>
            </a:extLst>
          </p:cNvPr>
          <p:cNvGraphicFramePr>
            <a:graphicFrameLocks noGrp="1"/>
          </p:cNvGraphicFramePr>
          <p:nvPr>
            <p:extLst>
              <p:ext uri="{D42A27DB-BD31-4B8C-83A1-F6EECF244321}">
                <p14:modId xmlns:p14="http://schemas.microsoft.com/office/powerpoint/2010/main" val="3497864182"/>
              </p:ext>
            </p:extLst>
          </p:nvPr>
        </p:nvGraphicFramePr>
        <p:xfrm>
          <a:off x="2067189" y="2204864"/>
          <a:ext cx="1148491" cy="482702"/>
        </p:xfrm>
        <a:graphic>
          <a:graphicData uri="http://schemas.openxmlformats.org/drawingml/2006/table">
            <a:tbl>
              <a:tblPr firstRow="1" bandRow="1">
                <a:tableStyleId>{5C22544A-7EE6-4342-B048-85BDC9FD1C3A}</a:tableStyleId>
              </a:tblPr>
              <a:tblGrid>
                <a:gridCol w="1148491">
                  <a:extLst>
                    <a:ext uri="{9D8B030D-6E8A-4147-A177-3AD203B41FA5}">
                      <a16:colId xmlns:a16="http://schemas.microsoft.com/office/drawing/2014/main" val="20000"/>
                    </a:ext>
                  </a:extLst>
                </a:gridCol>
              </a:tblGrid>
              <a:tr h="312273">
                <a:tc>
                  <a:txBody>
                    <a:bodyPr/>
                    <a:lstStyle/>
                    <a:p>
                      <a:r>
                        <a:rPr lang="en-GB" sz="2400" b="1" dirty="0">
                          <a:solidFill>
                            <a:schemeClr val="tx1"/>
                          </a:solidFill>
                        </a:rPr>
                        <a:t>54 %</a:t>
                      </a:r>
                    </a:p>
                  </a:txBody>
                  <a:tcPr marL="116943" marR="116943" marT="58471" marB="58471"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7" name="TextBox 4">
            <a:extLst>
              <a:ext uri="{FF2B5EF4-FFF2-40B4-BE49-F238E27FC236}">
                <a16:creationId xmlns:a16="http://schemas.microsoft.com/office/drawing/2014/main" id="{72312C96-719C-4F3E-A021-0B524AB8079B}"/>
              </a:ext>
            </a:extLst>
          </p:cNvPr>
          <p:cNvSpPr txBox="1"/>
          <p:nvPr/>
        </p:nvSpPr>
        <p:spPr>
          <a:xfrm>
            <a:off x="1127448" y="4365104"/>
            <a:ext cx="2448272" cy="430887"/>
          </a:xfrm>
          <a:prstGeom prst="rect">
            <a:avLst/>
          </a:prstGeom>
        </p:spPr>
        <p:txBody>
          <a:bodyPr vert="horz" wrap="square" lIns="0" tIns="0" rIns="0" bIns="0" rtlCol="0">
            <a:spAutoFit/>
          </a:bodyPr>
          <a:lstStyle/>
          <a:p>
            <a:pPr marL="4763" algn="ctr"/>
            <a:r>
              <a:rPr lang="nb-NO" sz="1400" dirty="0"/>
              <a:t>På morgenen/formiddagen, mellom 07.00 og 16.00</a:t>
            </a:r>
          </a:p>
        </p:txBody>
      </p:sp>
      <p:sp>
        <p:nvSpPr>
          <p:cNvPr id="28" name="TextBox 33">
            <a:extLst>
              <a:ext uri="{FF2B5EF4-FFF2-40B4-BE49-F238E27FC236}">
                <a16:creationId xmlns:a16="http://schemas.microsoft.com/office/drawing/2014/main" id="{B694C0D2-00E0-41B5-9677-8EEC674A5C3A}"/>
              </a:ext>
            </a:extLst>
          </p:cNvPr>
          <p:cNvSpPr txBox="1"/>
          <p:nvPr/>
        </p:nvSpPr>
        <p:spPr>
          <a:xfrm>
            <a:off x="9696400" y="4437112"/>
            <a:ext cx="633250" cy="215444"/>
          </a:xfrm>
          <a:prstGeom prst="rect">
            <a:avLst/>
          </a:prstGeom>
        </p:spPr>
        <p:txBody>
          <a:bodyPr vert="horz" wrap="none" lIns="0" tIns="0" rIns="0" bIns="0" rtlCol="0">
            <a:spAutoFit/>
          </a:bodyPr>
          <a:lstStyle/>
          <a:p>
            <a:pPr marL="4763"/>
            <a:r>
              <a:rPr lang="nb-NO" sz="1400" dirty="0"/>
              <a:t>Vet ikke</a:t>
            </a:r>
          </a:p>
        </p:txBody>
      </p:sp>
      <p:sp>
        <p:nvSpPr>
          <p:cNvPr id="29" name="TextBox 34">
            <a:extLst>
              <a:ext uri="{FF2B5EF4-FFF2-40B4-BE49-F238E27FC236}">
                <a16:creationId xmlns:a16="http://schemas.microsoft.com/office/drawing/2014/main" id="{105B80C8-FE59-47ED-A427-077A78A1DA42}"/>
              </a:ext>
            </a:extLst>
          </p:cNvPr>
          <p:cNvSpPr txBox="1"/>
          <p:nvPr/>
        </p:nvSpPr>
        <p:spPr>
          <a:xfrm>
            <a:off x="5807968" y="4293096"/>
            <a:ext cx="3265048" cy="430887"/>
          </a:xfrm>
          <a:prstGeom prst="rect">
            <a:avLst/>
          </a:prstGeom>
        </p:spPr>
        <p:txBody>
          <a:bodyPr vert="horz" wrap="square" lIns="0" tIns="0" rIns="0" bIns="0" rtlCol="0">
            <a:spAutoFit/>
          </a:bodyPr>
          <a:lstStyle/>
          <a:p>
            <a:pPr marL="4763" algn="ctr"/>
            <a:r>
              <a:rPr lang="nb-NO" sz="1400" dirty="0"/>
              <a:t>Om natten, </a:t>
            </a:r>
          </a:p>
          <a:p>
            <a:pPr marL="4763" algn="ctr"/>
            <a:r>
              <a:rPr lang="nb-NO" sz="1400" dirty="0"/>
              <a:t>mellom 00.00 og 07.00</a:t>
            </a:r>
          </a:p>
        </p:txBody>
      </p:sp>
      <p:sp>
        <p:nvSpPr>
          <p:cNvPr id="30" name="TextBox 36">
            <a:extLst>
              <a:ext uri="{FF2B5EF4-FFF2-40B4-BE49-F238E27FC236}">
                <a16:creationId xmlns:a16="http://schemas.microsoft.com/office/drawing/2014/main" id="{0472379E-F8B5-4203-B2AD-94BAF39CD903}"/>
              </a:ext>
            </a:extLst>
          </p:cNvPr>
          <p:cNvSpPr txBox="1"/>
          <p:nvPr/>
        </p:nvSpPr>
        <p:spPr>
          <a:xfrm>
            <a:off x="3828300" y="4365104"/>
            <a:ext cx="2123684" cy="430887"/>
          </a:xfrm>
          <a:prstGeom prst="rect">
            <a:avLst/>
          </a:prstGeom>
        </p:spPr>
        <p:txBody>
          <a:bodyPr vert="horz" wrap="square" lIns="0" tIns="0" rIns="0" bIns="0" rtlCol="0">
            <a:spAutoFit/>
          </a:bodyPr>
          <a:lstStyle/>
          <a:p>
            <a:pPr marL="4763" algn="ctr"/>
            <a:r>
              <a:rPr lang="nb-NO" sz="1400" dirty="0"/>
              <a:t>På ettermiddag/kveld, mellom 16.00 og 00.00</a:t>
            </a:r>
          </a:p>
        </p:txBody>
      </p:sp>
      <p:graphicFrame>
        <p:nvGraphicFramePr>
          <p:cNvPr id="31" name="Table 38">
            <a:extLst>
              <a:ext uri="{FF2B5EF4-FFF2-40B4-BE49-F238E27FC236}">
                <a16:creationId xmlns:a16="http://schemas.microsoft.com/office/drawing/2014/main" id="{FA538E5B-491C-4F28-974D-BCE9DF54DFBE}"/>
              </a:ext>
            </a:extLst>
          </p:cNvPr>
          <p:cNvGraphicFramePr>
            <a:graphicFrameLocks noGrp="1"/>
          </p:cNvGraphicFramePr>
          <p:nvPr>
            <p:extLst>
              <p:ext uri="{D42A27DB-BD31-4B8C-83A1-F6EECF244321}">
                <p14:modId xmlns:p14="http://schemas.microsoft.com/office/powerpoint/2010/main" val="343061599"/>
              </p:ext>
            </p:extLst>
          </p:nvPr>
        </p:nvGraphicFramePr>
        <p:xfrm>
          <a:off x="9696400" y="2204864"/>
          <a:ext cx="1148491" cy="482702"/>
        </p:xfrm>
        <a:graphic>
          <a:graphicData uri="http://schemas.openxmlformats.org/drawingml/2006/table">
            <a:tbl>
              <a:tblPr firstRow="1" bandRow="1">
                <a:tableStyleId>{5C22544A-7EE6-4342-B048-85BDC9FD1C3A}</a:tableStyleId>
              </a:tblPr>
              <a:tblGrid>
                <a:gridCol w="1148491">
                  <a:extLst>
                    <a:ext uri="{9D8B030D-6E8A-4147-A177-3AD203B41FA5}">
                      <a16:colId xmlns:a16="http://schemas.microsoft.com/office/drawing/2014/main" val="20000"/>
                    </a:ext>
                  </a:extLst>
                </a:gridCol>
              </a:tblGrid>
              <a:tr h="312273">
                <a:tc>
                  <a:txBody>
                    <a:bodyPr/>
                    <a:lstStyle/>
                    <a:p>
                      <a:r>
                        <a:rPr lang="en-GB" sz="2400" b="1" dirty="0">
                          <a:solidFill>
                            <a:schemeClr val="tx1"/>
                          </a:solidFill>
                        </a:rPr>
                        <a:t>6 %</a:t>
                      </a:r>
                    </a:p>
                  </a:txBody>
                  <a:tcPr marL="116943" marR="116943" marT="58471" marB="58471"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2" name="Table 39">
            <a:extLst>
              <a:ext uri="{FF2B5EF4-FFF2-40B4-BE49-F238E27FC236}">
                <a16:creationId xmlns:a16="http://schemas.microsoft.com/office/drawing/2014/main" id="{A556FA0A-ECE2-4C99-819D-D48E0A6BF85A}"/>
              </a:ext>
            </a:extLst>
          </p:cNvPr>
          <p:cNvGraphicFramePr>
            <a:graphicFrameLocks noGrp="1"/>
          </p:cNvGraphicFramePr>
          <p:nvPr>
            <p:extLst>
              <p:ext uri="{D42A27DB-BD31-4B8C-83A1-F6EECF244321}">
                <p14:modId xmlns:p14="http://schemas.microsoft.com/office/powerpoint/2010/main" val="2479836938"/>
              </p:ext>
            </p:extLst>
          </p:nvPr>
        </p:nvGraphicFramePr>
        <p:xfrm>
          <a:off x="4511824" y="2204864"/>
          <a:ext cx="1148491" cy="482702"/>
        </p:xfrm>
        <a:graphic>
          <a:graphicData uri="http://schemas.openxmlformats.org/drawingml/2006/table">
            <a:tbl>
              <a:tblPr firstRow="1" bandRow="1">
                <a:tableStyleId>{5C22544A-7EE6-4342-B048-85BDC9FD1C3A}</a:tableStyleId>
              </a:tblPr>
              <a:tblGrid>
                <a:gridCol w="1148491">
                  <a:extLst>
                    <a:ext uri="{9D8B030D-6E8A-4147-A177-3AD203B41FA5}">
                      <a16:colId xmlns:a16="http://schemas.microsoft.com/office/drawing/2014/main" val="20000"/>
                    </a:ext>
                  </a:extLst>
                </a:gridCol>
              </a:tblGrid>
              <a:tr h="312273">
                <a:tc>
                  <a:txBody>
                    <a:bodyPr/>
                    <a:lstStyle/>
                    <a:p>
                      <a:r>
                        <a:rPr lang="en-GB" sz="2400" b="1" dirty="0">
                          <a:solidFill>
                            <a:schemeClr val="tx1"/>
                          </a:solidFill>
                        </a:rPr>
                        <a:t>71 %</a:t>
                      </a:r>
                    </a:p>
                  </a:txBody>
                  <a:tcPr marL="116943" marR="116943" marT="58471" marB="58471"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3" name="Table 40">
            <a:extLst>
              <a:ext uri="{FF2B5EF4-FFF2-40B4-BE49-F238E27FC236}">
                <a16:creationId xmlns:a16="http://schemas.microsoft.com/office/drawing/2014/main" id="{6DC78C65-A730-4DEC-B5FC-1AC6A603F5E4}"/>
              </a:ext>
            </a:extLst>
          </p:cNvPr>
          <p:cNvGraphicFramePr>
            <a:graphicFrameLocks noGrp="1"/>
          </p:cNvGraphicFramePr>
          <p:nvPr>
            <p:extLst>
              <p:ext uri="{D42A27DB-BD31-4B8C-83A1-F6EECF244321}">
                <p14:modId xmlns:p14="http://schemas.microsoft.com/office/powerpoint/2010/main" val="2532511366"/>
              </p:ext>
            </p:extLst>
          </p:nvPr>
        </p:nvGraphicFramePr>
        <p:xfrm>
          <a:off x="7035741" y="2204864"/>
          <a:ext cx="1148491" cy="482702"/>
        </p:xfrm>
        <a:graphic>
          <a:graphicData uri="http://schemas.openxmlformats.org/drawingml/2006/table">
            <a:tbl>
              <a:tblPr firstRow="1" bandRow="1">
                <a:tableStyleId>{5C22544A-7EE6-4342-B048-85BDC9FD1C3A}</a:tableStyleId>
              </a:tblPr>
              <a:tblGrid>
                <a:gridCol w="1148491">
                  <a:extLst>
                    <a:ext uri="{9D8B030D-6E8A-4147-A177-3AD203B41FA5}">
                      <a16:colId xmlns:a16="http://schemas.microsoft.com/office/drawing/2014/main" val="20000"/>
                    </a:ext>
                  </a:extLst>
                </a:gridCol>
              </a:tblGrid>
              <a:tr h="312273">
                <a:tc>
                  <a:txBody>
                    <a:bodyPr/>
                    <a:lstStyle/>
                    <a:p>
                      <a:r>
                        <a:rPr lang="en-GB" sz="2400" b="1" dirty="0">
                          <a:solidFill>
                            <a:schemeClr val="tx1"/>
                          </a:solidFill>
                        </a:rPr>
                        <a:t>18 %</a:t>
                      </a:r>
                    </a:p>
                  </a:txBody>
                  <a:tcPr marL="116943" marR="116943" marT="58471" marB="58471"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ext Placeholder 9">
            <a:extLst>
              <a:ext uri="{FF2B5EF4-FFF2-40B4-BE49-F238E27FC236}">
                <a16:creationId xmlns:a16="http://schemas.microsoft.com/office/drawing/2014/main" id="{20428E30-EB22-4464-BF65-727187CDFC8D}"/>
              </a:ext>
            </a:extLst>
          </p:cNvPr>
          <p:cNvSpPr txBox="1">
            <a:spLocks/>
          </p:cNvSpPr>
          <p:nvPr/>
        </p:nvSpPr>
        <p:spPr>
          <a:xfrm>
            <a:off x="407368" y="6067032"/>
            <a:ext cx="11463417" cy="215444"/>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 typeface="Arial" panose="020B0604020202020204" pitchFamily="34" charset="0"/>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dirty="0"/>
              <a:t>Base: De som har svart at de har </a:t>
            </a:r>
            <a:r>
              <a:rPr lang="nb-NO" sz="800" dirty="0">
                <a:solidFill>
                  <a:schemeClr val="bg1">
                    <a:lumMod val="50000"/>
                  </a:schemeClr>
                </a:solidFill>
                <a:cs typeface="Times New Roman" panose="02020603050405020304" pitchFamily="18" charset="0"/>
              </a:rPr>
              <a:t>hørt lyder fra én eller flere aktiviteter ved beredskapssenteret, </a:t>
            </a:r>
            <a:r>
              <a:rPr lang="nb-NO" dirty="0"/>
              <a:t>n=507</a:t>
            </a:r>
          </a:p>
        </p:txBody>
      </p:sp>
      <p:sp>
        <p:nvSpPr>
          <p:cNvPr id="36" name="Rectangle 5">
            <a:extLst>
              <a:ext uri="{FF2B5EF4-FFF2-40B4-BE49-F238E27FC236}">
                <a16:creationId xmlns:a16="http://schemas.microsoft.com/office/drawing/2014/main" id="{DF2C72B4-73AB-4B7E-BA2E-AEFD72A9336E}"/>
              </a:ext>
            </a:extLst>
          </p:cNvPr>
          <p:cNvSpPr/>
          <p:nvPr/>
        </p:nvSpPr>
        <p:spPr>
          <a:xfrm>
            <a:off x="479376" y="4941168"/>
            <a:ext cx="11357920" cy="1080121"/>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nb-NO" sz="1200" dirty="0">
                <a:solidFill>
                  <a:schemeClr val="tx1"/>
                </a:solidFill>
              </a:rPr>
              <a:t>Blant de som har hørt lyder fra aktiviteter ved beredskapssenteret er det flest, 71 %, som har hørt lyder fra aktivitet på ettermiddag/kveld, mens 54 % har hørt slike lyder på morgenen/formiddagen og 18 % om natten. </a:t>
            </a:r>
          </a:p>
          <a:p>
            <a:pPr algn="just"/>
            <a:endParaRPr lang="nb-NO" sz="1200" dirty="0">
              <a:solidFill>
                <a:schemeClr val="tx1"/>
              </a:solidFill>
            </a:endParaRPr>
          </a:p>
          <a:p>
            <a:pPr algn="just"/>
            <a:r>
              <a:rPr lang="nb-NO" sz="1200" dirty="0">
                <a:solidFill>
                  <a:schemeClr val="tx1"/>
                </a:solidFill>
              </a:rPr>
              <a:t>Blant de som har hørt lyder fra aktiviteter ved senteret er det en høyere andel av de som bor i Oppegård som svarer at de hører lyder på morgenen/formiddagen (68 %) og en høyrere andel av de som bor i Langhus som hører lyder fra aktiviteter på ettermiddag/kveld (79 %), sammenlignet med gjennomsnittet av de spurte. </a:t>
            </a:r>
          </a:p>
        </p:txBody>
      </p:sp>
      <p:sp>
        <p:nvSpPr>
          <p:cNvPr id="37" name="TekstSylinder 36">
            <a:extLst>
              <a:ext uri="{FF2B5EF4-FFF2-40B4-BE49-F238E27FC236}">
                <a16:creationId xmlns:a16="http://schemas.microsoft.com/office/drawing/2014/main" id="{8CA2A05D-B8BD-4E10-8262-10813AC4B900}"/>
              </a:ext>
            </a:extLst>
          </p:cNvPr>
          <p:cNvSpPr txBox="1"/>
          <p:nvPr/>
        </p:nvSpPr>
        <p:spPr>
          <a:xfrm>
            <a:off x="263352" y="674693"/>
            <a:ext cx="11881320" cy="954107"/>
          </a:xfrm>
          <a:prstGeom prst="rect">
            <a:avLst/>
          </a:prstGeom>
          <a:noFill/>
        </p:spPr>
        <p:txBody>
          <a:bodyPr wrap="square" rtlCol="0">
            <a:spAutoFit/>
          </a:bodyPr>
          <a:lstStyle/>
          <a:p>
            <a:r>
              <a:rPr lang="en-GB" sz="2800" dirty="0">
                <a:latin typeface="+mj-lt"/>
              </a:rPr>
              <a:t>Flest hører lyder fra aktiviteter ved senteret på ettermiddag/kveld</a:t>
            </a:r>
          </a:p>
        </p:txBody>
      </p:sp>
    </p:spTree>
    <p:extLst>
      <p:ext uri="{BB962C8B-B14F-4D97-AF65-F5344CB8AC3E}">
        <p14:creationId xmlns:p14="http://schemas.microsoft.com/office/powerpoint/2010/main" val="8565913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5E77C17-D01F-441E-89B1-B2905769C0F2}"/>
              </a:ext>
            </a:extLst>
          </p:cNvPr>
          <p:cNvSpPr>
            <a:spLocks noGrp="1"/>
          </p:cNvSpPr>
          <p:nvPr>
            <p:ph type="body" sz="quarter" idx="15"/>
          </p:nvPr>
        </p:nvSpPr>
        <p:spPr>
          <a:xfrm>
            <a:off x="407368" y="1700808"/>
            <a:ext cx="11667878" cy="538609"/>
          </a:xfrm>
        </p:spPr>
        <p:txBody>
          <a:bodyPr/>
          <a:lstStyle/>
          <a:p>
            <a:r>
              <a:rPr lang="nb-NO" sz="1600" i="1" dirty="0">
                <a:solidFill>
                  <a:schemeClr val="tx1"/>
                </a:solidFill>
                <a:cs typeface="Times New Roman" panose="02020603050405020304" pitchFamily="18" charset="0"/>
              </a:rPr>
              <a:t>Vil du si at du hører mer lyd, omtrent like mye, eller mindre lyd enn du forventet fra beredskapssenteret etter at det kom i drift?</a:t>
            </a:r>
          </a:p>
        </p:txBody>
      </p:sp>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13</a:t>
            </a:fld>
            <a:r>
              <a:rPr lang="nb-NO" noProof="0" dirty="0"/>
              <a:t> ‒ </a:t>
            </a:r>
          </a:p>
        </p:txBody>
      </p:sp>
      <p:sp>
        <p:nvSpPr>
          <p:cNvPr id="7" name="Title 6">
            <a:extLst>
              <a:ext uri="{FF2B5EF4-FFF2-40B4-BE49-F238E27FC236}">
                <a16:creationId xmlns:a16="http://schemas.microsoft.com/office/drawing/2014/main" id="{AFAB9416-0A9F-47EF-B35A-71A6C2DFFEB4}"/>
              </a:ext>
            </a:extLst>
          </p:cNvPr>
          <p:cNvSpPr>
            <a:spLocks noGrp="1"/>
          </p:cNvSpPr>
          <p:nvPr>
            <p:ph type="title"/>
          </p:nvPr>
        </p:nvSpPr>
        <p:spPr>
          <a:xfrm>
            <a:off x="404786" y="382816"/>
            <a:ext cx="11382428" cy="313932"/>
          </a:xfrm>
        </p:spPr>
        <p:txBody>
          <a:bodyPr/>
          <a:lstStyle/>
          <a:p>
            <a:r>
              <a:rPr lang="nb-NO" sz="1600" dirty="0">
                <a:solidFill>
                  <a:schemeClr val="bg1">
                    <a:lumMod val="75000"/>
                  </a:schemeClr>
                </a:solidFill>
              </a:rPr>
              <a:t>LYDNIVÅ OG STØY</a:t>
            </a:r>
          </a:p>
        </p:txBody>
      </p:sp>
      <p:sp>
        <p:nvSpPr>
          <p:cNvPr id="8" name="Rectangle 5">
            <a:extLst>
              <a:ext uri="{FF2B5EF4-FFF2-40B4-BE49-F238E27FC236}">
                <a16:creationId xmlns:a16="http://schemas.microsoft.com/office/drawing/2014/main" id="{F6FD3AF3-E2EE-4E40-A7FB-23DEAB273A41}"/>
              </a:ext>
            </a:extLst>
          </p:cNvPr>
          <p:cNvSpPr/>
          <p:nvPr/>
        </p:nvSpPr>
        <p:spPr>
          <a:xfrm>
            <a:off x="452358" y="4725144"/>
            <a:ext cx="11404282" cy="1368152"/>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nb-NO" sz="1200" dirty="0">
                <a:solidFill>
                  <a:schemeClr val="tx1"/>
                </a:solidFill>
              </a:rPr>
              <a:t>43 % svarer at de hører mindre lyd og 25 % at de hører like mye lyd som forventet etter at beredskapssenteret kom i drift, mens 19 % svarer at de hører mer lyd enn de forventet. I undersøkelsen fra 2019 forventet 38 % av de som kommer fra Bjørndal, Tårnåsen og Sofiemyr at de ville høre «ganske» eller «veldig mye» støy hjemme når beredskapssenteret kom i drift.</a:t>
            </a:r>
          </a:p>
          <a:p>
            <a:pPr algn="just"/>
            <a:endParaRPr lang="nb-NO" sz="1200" dirty="0">
              <a:solidFill>
                <a:schemeClr val="tx1"/>
              </a:solidFill>
            </a:endParaRPr>
          </a:p>
          <a:p>
            <a:pPr algn="just"/>
            <a:r>
              <a:rPr lang="nb-NO" sz="1200" dirty="0">
                <a:solidFill>
                  <a:schemeClr val="tx1"/>
                </a:solidFill>
              </a:rPr>
              <a:t>En høyere andel av de som bor i Langhus svarer at de hører mer lyd enn de forventet (27 %) sammenlignet med gjennomsnittet av de spurte. Blant de som bor i Oppegård er det en høyere andel som svarer at de høyrer omtrent like mye lyd som forventet (31 %), mens det blant de som bor i Tårnåsen og Sofiemyr er flere som hører mindre lyd enn forventet, henholdsvis 70 % og 63 %. </a:t>
            </a:r>
            <a:endParaRPr lang="nb-NO" sz="1400" dirty="0">
              <a:solidFill>
                <a:schemeClr val="tx1"/>
              </a:solidFill>
            </a:endParaRPr>
          </a:p>
        </p:txBody>
      </p:sp>
      <p:sp>
        <p:nvSpPr>
          <p:cNvPr id="12" name="Text Placeholder 9">
            <a:extLst>
              <a:ext uri="{FF2B5EF4-FFF2-40B4-BE49-F238E27FC236}">
                <a16:creationId xmlns:a16="http://schemas.microsoft.com/office/drawing/2014/main" id="{7927EE68-9028-482E-B4A2-69024323B34C}"/>
              </a:ext>
            </a:extLst>
          </p:cNvPr>
          <p:cNvSpPr txBox="1">
            <a:spLocks/>
          </p:cNvSpPr>
          <p:nvPr/>
        </p:nvSpPr>
        <p:spPr>
          <a:xfrm>
            <a:off x="407368" y="6093876"/>
            <a:ext cx="11463417" cy="215444"/>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 typeface="Arial" panose="020B0604020202020204" pitchFamily="34" charset="0"/>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dirty="0"/>
              <a:t>Base: Alle, n=602</a:t>
            </a:r>
          </a:p>
        </p:txBody>
      </p:sp>
      <p:graphicFrame>
        <p:nvGraphicFramePr>
          <p:cNvPr id="4" name="Diagram 3">
            <a:extLst>
              <a:ext uri="{FF2B5EF4-FFF2-40B4-BE49-F238E27FC236}">
                <a16:creationId xmlns:a16="http://schemas.microsoft.com/office/drawing/2014/main" id="{67725DCE-F6C9-468B-B77A-DAC5921C7CE3}"/>
              </a:ext>
            </a:extLst>
          </p:cNvPr>
          <p:cNvGraphicFramePr/>
          <p:nvPr>
            <p:extLst>
              <p:ext uri="{D42A27DB-BD31-4B8C-83A1-F6EECF244321}">
                <p14:modId xmlns:p14="http://schemas.microsoft.com/office/powerpoint/2010/main" val="905993316"/>
              </p:ext>
            </p:extLst>
          </p:nvPr>
        </p:nvGraphicFramePr>
        <p:xfrm>
          <a:off x="1154710" y="1883793"/>
          <a:ext cx="10632504" cy="2819175"/>
        </p:xfrm>
        <a:graphic>
          <a:graphicData uri="http://schemas.openxmlformats.org/drawingml/2006/chart">
            <c:chart xmlns:c="http://schemas.openxmlformats.org/drawingml/2006/chart" xmlns:r="http://schemas.openxmlformats.org/officeDocument/2006/relationships" r:id="rId2"/>
          </a:graphicData>
        </a:graphic>
      </p:graphicFrame>
      <p:sp>
        <p:nvSpPr>
          <p:cNvPr id="10" name="TekstSylinder 9">
            <a:extLst>
              <a:ext uri="{FF2B5EF4-FFF2-40B4-BE49-F238E27FC236}">
                <a16:creationId xmlns:a16="http://schemas.microsoft.com/office/drawing/2014/main" id="{EBFC1F19-FB7B-4FC8-878C-D01245C4BCC2}"/>
              </a:ext>
            </a:extLst>
          </p:cNvPr>
          <p:cNvSpPr txBox="1"/>
          <p:nvPr/>
        </p:nvSpPr>
        <p:spPr>
          <a:xfrm>
            <a:off x="335360" y="674693"/>
            <a:ext cx="11881320" cy="954107"/>
          </a:xfrm>
          <a:prstGeom prst="rect">
            <a:avLst/>
          </a:prstGeom>
          <a:noFill/>
        </p:spPr>
        <p:txBody>
          <a:bodyPr wrap="square" rtlCol="0">
            <a:spAutoFit/>
          </a:bodyPr>
          <a:lstStyle/>
          <a:p>
            <a:r>
              <a:rPr lang="en-GB" sz="2800" dirty="0">
                <a:latin typeface="+mj-lt"/>
              </a:rPr>
              <a:t>Flertallet hører mindre eller omtrent like mye lyd som forventet etter at senteret kom i drift</a:t>
            </a:r>
          </a:p>
        </p:txBody>
      </p:sp>
    </p:spTree>
    <p:extLst>
      <p:ext uri="{BB962C8B-B14F-4D97-AF65-F5344CB8AC3E}">
        <p14:creationId xmlns:p14="http://schemas.microsoft.com/office/powerpoint/2010/main" val="18195420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01F91D-D95C-4F14-915E-6CD417F02A5C}"/>
              </a:ext>
            </a:extLst>
          </p:cNvPr>
          <p:cNvSpPr>
            <a:spLocks noGrp="1"/>
          </p:cNvSpPr>
          <p:nvPr>
            <p:ph type="title"/>
          </p:nvPr>
        </p:nvSpPr>
        <p:spPr>
          <a:xfrm>
            <a:off x="459207" y="546021"/>
            <a:ext cx="7551996" cy="849015"/>
          </a:xfrm>
        </p:spPr>
        <p:txBody>
          <a:bodyPr/>
          <a:lstStyle/>
          <a:p>
            <a:r>
              <a:rPr lang="nb-NO" dirty="0"/>
              <a:t>INFORMASJON</a:t>
            </a:r>
          </a:p>
        </p:txBody>
      </p:sp>
      <p:sp>
        <p:nvSpPr>
          <p:cNvPr id="5" name="Slide Number Placeholder 4">
            <a:extLst>
              <a:ext uri="{FF2B5EF4-FFF2-40B4-BE49-F238E27FC236}">
                <a16:creationId xmlns:a16="http://schemas.microsoft.com/office/drawing/2014/main" id="{2C147CCE-758A-4B3E-8B01-ABF1F188504C}"/>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dirty="0">
                <a:ln>
                  <a:noFill/>
                </a:ln>
                <a:solidFill>
                  <a:prstClr val="white"/>
                </a:solidFill>
                <a:effectLst/>
                <a:uLnTx/>
                <a:uFillTx/>
                <a:latin typeface="Arial Black"/>
                <a:ea typeface="+mn-ea"/>
                <a:cs typeface="+mn-cs"/>
              </a:rPr>
              <a:t> ‒ </a:t>
            </a:r>
          </a:p>
        </p:txBody>
      </p:sp>
    </p:spTree>
    <p:extLst>
      <p:ext uri="{BB962C8B-B14F-4D97-AF65-F5344CB8AC3E}">
        <p14:creationId xmlns:p14="http://schemas.microsoft.com/office/powerpoint/2010/main" val="1656647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5E77C17-D01F-441E-89B1-B2905769C0F2}"/>
              </a:ext>
            </a:extLst>
          </p:cNvPr>
          <p:cNvSpPr>
            <a:spLocks noGrp="1"/>
          </p:cNvSpPr>
          <p:nvPr>
            <p:ph type="body" sz="quarter" idx="15"/>
          </p:nvPr>
        </p:nvSpPr>
        <p:spPr>
          <a:xfrm>
            <a:off x="407368" y="2276872"/>
            <a:ext cx="8067478" cy="292388"/>
          </a:xfrm>
        </p:spPr>
        <p:txBody>
          <a:bodyPr/>
          <a:lstStyle/>
          <a:p>
            <a:r>
              <a:rPr lang="nb-NO" sz="1600" i="1" dirty="0">
                <a:solidFill>
                  <a:schemeClr val="tx1"/>
                </a:solidFill>
                <a:cs typeface="Times New Roman" panose="02020603050405020304" pitchFamily="18" charset="0"/>
              </a:rPr>
              <a:t>I hvilken grad har du fått informasjon om driften ved beredskapssenteret? </a:t>
            </a:r>
          </a:p>
        </p:txBody>
      </p:sp>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15</a:t>
            </a:fld>
            <a:r>
              <a:rPr lang="nb-NO" noProof="0" dirty="0"/>
              <a:t> ‒ </a:t>
            </a:r>
          </a:p>
        </p:txBody>
      </p:sp>
      <p:sp>
        <p:nvSpPr>
          <p:cNvPr id="32" name="Rectangle 5">
            <a:extLst>
              <a:ext uri="{FF2B5EF4-FFF2-40B4-BE49-F238E27FC236}">
                <a16:creationId xmlns:a16="http://schemas.microsoft.com/office/drawing/2014/main" id="{9846F757-CB8F-4FA6-9F3F-AD6195E2C6B9}"/>
              </a:ext>
            </a:extLst>
          </p:cNvPr>
          <p:cNvSpPr/>
          <p:nvPr/>
        </p:nvSpPr>
        <p:spPr>
          <a:xfrm>
            <a:off x="479376" y="4869160"/>
            <a:ext cx="11281098" cy="475999"/>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nb-NO" sz="1100" dirty="0">
                <a:solidFill>
                  <a:schemeClr val="tx1"/>
                </a:solidFill>
              </a:rPr>
              <a:t>64 % av de spurte svarer at de i «liten» eller «ingen grad» har fått informasjon om driften ved beredskapssenteret. Blant undergruppene er det særlig de i aldergruppen 18–39 år som utmerket seg, med en høyere andel som har svart at de i «ingen grad» har mottatt informasjon (55 %) sammenlignet med gjennomsnittet av de spurte. </a:t>
            </a:r>
          </a:p>
        </p:txBody>
      </p:sp>
      <p:sp>
        <p:nvSpPr>
          <p:cNvPr id="28" name="Text Placeholder 9">
            <a:extLst>
              <a:ext uri="{FF2B5EF4-FFF2-40B4-BE49-F238E27FC236}">
                <a16:creationId xmlns:a16="http://schemas.microsoft.com/office/drawing/2014/main" id="{E654A3DB-C8E0-4D2C-93A5-C94BA67F1F90}"/>
              </a:ext>
            </a:extLst>
          </p:cNvPr>
          <p:cNvSpPr txBox="1">
            <a:spLocks/>
          </p:cNvSpPr>
          <p:nvPr/>
        </p:nvSpPr>
        <p:spPr>
          <a:xfrm>
            <a:off x="407368" y="6021288"/>
            <a:ext cx="11463417" cy="215444"/>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 typeface="Arial" panose="020B0604020202020204" pitchFamily="34" charset="0"/>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dirty="0"/>
              <a:t>Base: Alle, n=602</a:t>
            </a:r>
          </a:p>
        </p:txBody>
      </p:sp>
      <p:graphicFrame>
        <p:nvGraphicFramePr>
          <p:cNvPr id="29" name="Chart 4">
            <a:extLst>
              <a:ext uri="{FF2B5EF4-FFF2-40B4-BE49-F238E27FC236}">
                <a16:creationId xmlns:a16="http://schemas.microsoft.com/office/drawing/2014/main" id="{037859EB-9974-4E72-9287-4984E4EEFB23}"/>
              </a:ext>
            </a:extLst>
          </p:cNvPr>
          <p:cNvGraphicFramePr/>
          <p:nvPr>
            <p:extLst>
              <p:ext uri="{D42A27DB-BD31-4B8C-83A1-F6EECF244321}">
                <p14:modId xmlns:p14="http://schemas.microsoft.com/office/powerpoint/2010/main" val="906631189"/>
              </p:ext>
            </p:extLst>
          </p:nvPr>
        </p:nvGraphicFramePr>
        <p:xfrm>
          <a:off x="0" y="1988840"/>
          <a:ext cx="11809312" cy="2679950"/>
        </p:xfrm>
        <a:graphic>
          <a:graphicData uri="http://schemas.openxmlformats.org/drawingml/2006/chart">
            <c:chart xmlns:c="http://schemas.openxmlformats.org/drawingml/2006/chart" xmlns:r="http://schemas.openxmlformats.org/officeDocument/2006/relationships" r:id="rId2"/>
          </a:graphicData>
        </a:graphic>
      </p:graphicFrame>
      <p:sp>
        <p:nvSpPr>
          <p:cNvPr id="8" name="Title 6">
            <a:extLst>
              <a:ext uri="{FF2B5EF4-FFF2-40B4-BE49-F238E27FC236}">
                <a16:creationId xmlns:a16="http://schemas.microsoft.com/office/drawing/2014/main" id="{40A17452-D1FA-4DF8-95C9-B9AC36ED9C63}"/>
              </a:ext>
            </a:extLst>
          </p:cNvPr>
          <p:cNvSpPr txBox="1">
            <a:spLocks/>
          </p:cNvSpPr>
          <p:nvPr/>
        </p:nvSpPr>
        <p:spPr>
          <a:xfrm>
            <a:off x="404786" y="382816"/>
            <a:ext cx="11382428" cy="313932"/>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sz="1600" dirty="0">
                <a:solidFill>
                  <a:schemeClr val="bg1">
                    <a:lumMod val="75000"/>
                  </a:schemeClr>
                </a:solidFill>
              </a:rPr>
              <a:t>INFORMASJON</a:t>
            </a:r>
          </a:p>
        </p:txBody>
      </p:sp>
      <p:sp>
        <p:nvSpPr>
          <p:cNvPr id="10" name="TekstSylinder 9">
            <a:extLst>
              <a:ext uri="{FF2B5EF4-FFF2-40B4-BE49-F238E27FC236}">
                <a16:creationId xmlns:a16="http://schemas.microsoft.com/office/drawing/2014/main" id="{1EA938FF-D295-4DD4-ABE3-BE1089A90624}"/>
              </a:ext>
            </a:extLst>
          </p:cNvPr>
          <p:cNvSpPr txBox="1"/>
          <p:nvPr/>
        </p:nvSpPr>
        <p:spPr>
          <a:xfrm>
            <a:off x="335360" y="674693"/>
            <a:ext cx="11881320" cy="954107"/>
          </a:xfrm>
          <a:prstGeom prst="rect">
            <a:avLst/>
          </a:prstGeom>
          <a:noFill/>
        </p:spPr>
        <p:txBody>
          <a:bodyPr wrap="square" rtlCol="0">
            <a:spAutoFit/>
          </a:bodyPr>
          <a:lstStyle/>
          <a:p>
            <a:r>
              <a:rPr lang="en-GB" sz="2800" dirty="0">
                <a:latin typeface="+mj-lt"/>
              </a:rPr>
              <a:t>I underkant av 2 av 3 (64 %) har i </a:t>
            </a:r>
            <a:r>
              <a:rPr lang="nb-NO" sz="2800" b="1" dirty="0">
                <a:solidFill>
                  <a:schemeClr val="tx1"/>
                </a:solidFill>
                <a:cs typeface="Calibri" panose="020F0502020204030204" pitchFamily="34" charset="0"/>
              </a:rPr>
              <a:t>«</a:t>
            </a:r>
            <a:r>
              <a:rPr lang="en-GB" sz="2800" dirty="0">
                <a:latin typeface="+mj-lt"/>
              </a:rPr>
              <a:t>liten</a:t>
            </a:r>
            <a:r>
              <a:rPr lang="nb-NO" sz="2800" b="1" dirty="0">
                <a:solidFill>
                  <a:schemeClr val="tx1"/>
                </a:solidFill>
                <a:cs typeface="Calibri" panose="020F0502020204030204" pitchFamily="34" charset="0"/>
              </a:rPr>
              <a:t>»</a:t>
            </a:r>
            <a:r>
              <a:rPr lang="en-GB" sz="2800" dirty="0">
                <a:latin typeface="+mj-lt"/>
              </a:rPr>
              <a:t> eller </a:t>
            </a:r>
            <a:r>
              <a:rPr lang="nb-NO" sz="2800" b="1" dirty="0">
                <a:solidFill>
                  <a:schemeClr val="tx1"/>
                </a:solidFill>
                <a:cs typeface="Calibri" panose="020F0502020204030204" pitchFamily="34" charset="0"/>
              </a:rPr>
              <a:t>«</a:t>
            </a:r>
            <a:r>
              <a:rPr lang="en-GB" sz="2800" dirty="0">
                <a:latin typeface="+mj-lt"/>
              </a:rPr>
              <a:t>ingen grad</a:t>
            </a:r>
            <a:r>
              <a:rPr lang="nb-NO" sz="2800" b="1" dirty="0">
                <a:solidFill>
                  <a:schemeClr val="tx1"/>
                </a:solidFill>
                <a:cs typeface="Calibri" panose="020F0502020204030204" pitchFamily="34" charset="0"/>
              </a:rPr>
              <a:t>»</a:t>
            </a:r>
            <a:r>
              <a:rPr lang="en-GB" sz="2800" dirty="0">
                <a:latin typeface="+mj-lt"/>
              </a:rPr>
              <a:t> fått informasjon om driften ved senteret</a:t>
            </a:r>
          </a:p>
        </p:txBody>
      </p:sp>
    </p:spTree>
    <p:extLst>
      <p:ext uri="{BB962C8B-B14F-4D97-AF65-F5344CB8AC3E}">
        <p14:creationId xmlns:p14="http://schemas.microsoft.com/office/powerpoint/2010/main" val="362887967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5E77C17-D01F-441E-89B1-B2905769C0F2}"/>
              </a:ext>
            </a:extLst>
          </p:cNvPr>
          <p:cNvSpPr>
            <a:spLocks noGrp="1"/>
          </p:cNvSpPr>
          <p:nvPr>
            <p:ph type="body" sz="quarter" idx="15"/>
          </p:nvPr>
        </p:nvSpPr>
        <p:spPr>
          <a:xfrm>
            <a:off x="404786" y="1768460"/>
            <a:ext cx="8067478" cy="292388"/>
          </a:xfrm>
        </p:spPr>
        <p:txBody>
          <a:bodyPr/>
          <a:lstStyle/>
          <a:p>
            <a:r>
              <a:rPr lang="nb-NO" sz="1600" i="1" dirty="0">
                <a:solidFill>
                  <a:schemeClr val="tx1"/>
                </a:solidFill>
                <a:cs typeface="Times New Roman" panose="02020603050405020304" pitchFamily="18" charset="0"/>
              </a:rPr>
              <a:t>Hvor har du fått denne informasjonen fra</a:t>
            </a:r>
            <a:r>
              <a:rPr lang="nb-NO" sz="1600" b="1" i="1" dirty="0">
                <a:solidFill>
                  <a:schemeClr val="bg1">
                    <a:lumMod val="50000"/>
                  </a:schemeClr>
                </a:solidFill>
                <a:cs typeface="Times New Roman" panose="02020603050405020304" pitchFamily="18" charset="0"/>
              </a:rPr>
              <a:t>?</a:t>
            </a:r>
          </a:p>
        </p:txBody>
      </p:sp>
      <p:sp>
        <p:nvSpPr>
          <p:cNvPr id="10" name="Text Placeholder 9">
            <a:extLst>
              <a:ext uri="{FF2B5EF4-FFF2-40B4-BE49-F238E27FC236}">
                <a16:creationId xmlns:a16="http://schemas.microsoft.com/office/drawing/2014/main" id="{0FA4725A-4AFC-434D-A12C-419DC40F021F}"/>
              </a:ext>
            </a:extLst>
          </p:cNvPr>
          <p:cNvSpPr>
            <a:spLocks noGrp="1"/>
          </p:cNvSpPr>
          <p:nvPr>
            <p:ph type="body" sz="quarter" idx="17"/>
          </p:nvPr>
        </p:nvSpPr>
        <p:spPr>
          <a:xfrm>
            <a:off x="407368" y="6093296"/>
            <a:ext cx="11463417" cy="215444"/>
          </a:xfrm>
        </p:spPr>
        <p:txBody>
          <a:bodyPr/>
          <a:lstStyle/>
          <a:p>
            <a:r>
              <a:rPr lang="nb-NO" dirty="0"/>
              <a:t>Base: De som i «høy» eller «noen» grad har fått informasjon om driften ved beredskapssenteret, n=217</a:t>
            </a:r>
          </a:p>
        </p:txBody>
      </p:sp>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16</a:t>
            </a:fld>
            <a:r>
              <a:rPr lang="nb-NO" noProof="0" dirty="0"/>
              <a:t> ‒ </a:t>
            </a:r>
          </a:p>
        </p:txBody>
      </p:sp>
      <p:sp>
        <p:nvSpPr>
          <p:cNvPr id="3" name="Rektangel 2">
            <a:extLst>
              <a:ext uri="{FF2B5EF4-FFF2-40B4-BE49-F238E27FC236}">
                <a16:creationId xmlns:a16="http://schemas.microsoft.com/office/drawing/2014/main" id="{E22AC0CD-E2B1-400E-82F0-FBC5B3CB4CD8}"/>
              </a:ext>
            </a:extLst>
          </p:cNvPr>
          <p:cNvSpPr/>
          <p:nvPr/>
        </p:nvSpPr>
        <p:spPr>
          <a:xfrm>
            <a:off x="474212" y="5517232"/>
            <a:ext cx="11382428" cy="504056"/>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nb-NO" sz="1100" dirty="0">
                <a:solidFill>
                  <a:schemeClr val="tx1"/>
                </a:solidFill>
              </a:rPr>
              <a:t>Av de som har mottatt informasjon om driften ved beredskapssenteret svarer flest, 72 %, at de har fått denne informasjonen gjennom lokale medier/lokalavis. 17 % har mottatt informasjon gjennom Facebook.</a:t>
            </a:r>
          </a:p>
        </p:txBody>
      </p:sp>
      <p:graphicFrame>
        <p:nvGraphicFramePr>
          <p:cNvPr id="11" name="Chart 4">
            <a:extLst>
              <a:ext uri="{FF2B5EF4-FFF2-40B4-BE49-F238E27FC236}">
                <a16:creationId xmlns:a16="http://schemas.microsoft.com/office/drawing/2014/main" id="{27ECD7CB-6291-4E51-BA4A-7F7E5ABB2859}"/>
              </a:ext>
            </a:extLst>
          </p:cNvPr>
          <p:cNvGraphicFramePr/>
          <p:nvPr>
            <p:extLst>
              <p:ext uri="{D42A27DB-BD31-4B8C-83A1-F6EECF244321}">
                <p14:modId xmlns:p14="http://schemas.microsoft.com/office/powerpoint/2010/main" val="956573092"/>
              </p:ext>
            </p:extLst>
          </p:nvPr>
        </p:nvGraphicFramePr>
        <p:xfrm>
          <a:off x="1415480" y="1922084"/>
          <a:ext cx="8424936" cy="3523140"/>
        </p:xfrm>
        <a:graphic>
          <a:graphicData uri="http://schemas.openxmlformats.org/drawingml/2006/chart">
            <c:chart xmlns:c="http://schemas.openxmlformats.org/drawingml/2006/chart" xmlns:r="http://schemas.openxmlformats.org/officeDocument/2006/relationships" r:id="rId2"/>
          </a:graphicData>
        </a:graphic>
      </p:graphicFrame>
      <p:sp>
        <p:nvSpPr>
          <p:cNvPr id="8" name="Title 6">
            <a:extLst>
              <a:ext uri="{FF2B5EF4-FFF2-40B4-BE49-F238E27FC236}">
                <a16:creationId xmlns:a16="http://schemas.microsoft.com/office/drawing/2014/main" id="{8B4EE19E-91E3-47BC-BF2D-619EBDF44184}"/>
              </a:ext>
            </a:extLst>
          </p:cNvPr>
          <p:cNvSpPr txBox="1">
            <a:spLocks/>
          </p:cNvSpPr>
          <p:nvPr/>
        </p:nvSpPr>
        <p:spPr>
          <a:xfrm>
            <a:off x="404786" y="382816"/>
            <a:ext cx="11382428" cy="313932"/>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sz="1600" dirty="0">
                <a:solidFill>
                  <a:schemeClr val="bg1">
                    <a:lumMod val="75000"/>
                  </a:schemeClr>
                </a:solidFill>
              </a:rPr>
              <a:t>INFORMASJON</a:t>
            </a:r>
          </a:p>
        </p:txBody>
      </p:sp>
      <p:sp>
        <p:nvSpPr>
          <p:cNvPr id="12" name="TekstSylinder 11">
            <a:extLst>
              <a:ext uri="{FF2B5EF4-FFF2-40B4-BE49-F238E27FC236}">
                <a16:creationId xmlns:a16="http://schemas.microsoft.com/office/drawing/2014/main" id="{40AE233C-964D-4D97-9DB2-D168A2D1B942}"/>
              </a:ext>
            </a:extLst>
          </p:cNvPr>
          <p:cNvSpPr txBox="1"/>
          <p:nvPr/>
        </p:nvSpPr>
        <p:spPr>
          <a:xfrm>
            <a:off x="407368" y="674693"/>
            <a:ext cx="11881320" cy="954107"/>
          </a:xfrm>
          <a:prstGeom prst="rect">
            <a:avLst/>
          </a:prstGeom>
          <a:noFill/>
        </p:spPr>
        <p:txBody>
          <a:bodyPr wrap="square" rtlCol="0">
            <a:spAutoFit/>
          </a:bodyPr>
          <a:lstStyle/>
          <a:p>
            <a:r>
              <a:rPr lang="en-GB" sz="2800" dirty="0">
                <a:latin typeface="+mj-lt"/>
              </a:rPr>
              <a:t>Flest har mottatt informasjon om driften ved senteret fra lokale medier eller lokalavis</a:t>
            </a:r>
          </a:p>
        </p:txBody>
      </p:sp>
    </p:spTree>
    <p:extLst>
      <p:ext uri="{BB962C8B-B14F-4D97-AF65-F5344CB8AC3E}">
        <p14:creationId xmlns:p14="http://schemas.microsoft.com/office/powerpoint/2010/main" val="21383656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5E77C17-D01F-441E-89B1-B2905769C0F2}"/>
              </a:ext>
            </a:extLst>
          </p:cNvPr>
          <p:cNvSpPr>
            <a:spLocks noGrp="1"/>
          </p:cNvSpPr>
          <p:nvPr>
            <p:ph type="body" sz="quarter" idx="15"/>
          </p:nvPr>
        </p:nvSpPr>
        <p:spPr>
          <a:xfrm>
            <a:off x="2279576" y="1484784"/>
            <a:ext cx="8067478" cy="292388"/>
          </a:xfrm>
        </p:spPr>
        <p:txBody>
          <a:bodyPr/>
          <a:lstStyle/>
          <a:p>
            <a:pPr>
              <a:spcBef>
                <a:spcPts val="0"/>
              </a:spcBef>
            </a:pPr>
            <a:r>
              <a:rPr lang="nb-NO" sz="1600" i="1" dirty="0">
                <a:solidFill>
                  <a:schemeClr val="tx1"/>
                </a:solidFill>
                <a:cs typeface="Times New Roman" panose="02020603050405020304" pitchFamily="18" charset="0"/>
              </a:rPr>
              <a:t>Hvor har du fått denne informasjonen fra? Andre steder, skriv inn:</a:t>
            </a:r>
          </a:p>
        </p:txBody>
      </p:sp>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17</a:t>
            </a:fld>
            <a:r>
              <a:rPr lang="nb-NO" noProof="0" dirty="0"/>
              <a:t> ‒ </a:t>
            </a:r>
          </a:p>
        </p:txBody>
      </p:sp>
      <p:sp>
        <p:nvSpPr>
          <p:cNvPr id="7" name="Title 6">
            <a:extLst>
              <a:ext uri="{FF2B5EF4-FFF2-40B4-BE49-F238E27FC236}">
                <a16:creationId xmlns:a16="http://schemas.microsoft.com/office/drawing/2014/main" id="{AFAB9416-0A9F-47EF-B35A-71A6C2DFFEB4}"/>
              </a:ext>
            </a:extLst>
          </p:cNvPr>
          <p:cNvSpPr>
            <a:spLocks noGrp="1"/>
          </p:cNvSpPr>
          <p:nvPr>
            <p:ph type="title"/>
          </p:nvPr>
        </p:nvSpPr>
        <p:spPr>
          <a:xfrm>
            <a:off x="404786" y="382816"/>
            <a:ext cx="11382428" cy="313932"/>
          </a:xfrm>
        </p:spPr>
        <p:txBody>
          <a:bodyPr/>
          <a:lstStyle/>
          <a:p>
            <a:r>
              <a:rPr lang="nb-NO" sz="1600" dirty="0">
                <a:solidFill>
                  <a:schemeClr val="bg1">
                    <a:lumMod val="75000"/>
                  </a:schemeClr>
                </a:solidFill>
              </a:rPr>
              <a:t>INFORMASJON</a:t>
            </a:r>
          </a:p>
        </p:txBody>
      </p:sp>
      <p:sp>
        <p:nvSpPr>
          <p:cNvPr id="8" name="Speech Bubble: Rectangle with Corners Rounded 6">
            <a:extLst>
              <a:ext uri="{FF2B5EF4-FFF2-40B4-BE49-F238E27FC236}">
                <a16:creationId xmlns:a16="http://schemas.microsoft.com/office/drawing/2014/main" id="{0C146A7B-E19C-49A6-A6E3-5D32F3589E54}"/>
              </a:ext>
            </a:extLst>
          </p:cNvPr>
          <p:cNvSpPr/>
          <p:nvPr/>
        </p:nvSpPr>
        <p:spPr>
          <a:xfrm>
            <a:off x="1887103" y="2512688"/>
            <a:ext cx="1942949" cy="1037230"/>
          </a:xfrm>
          <a:prstGeom prst="wedgeRoundRectCallout">
            <a:avLst>
              <a:gd name="adj1" fmla="val -6140"/>
              <a:gd name="adj2" fmla="val -63816"/>
              <a:gd name="adj3" fmla="val 16667"/>
            </a:avLst>
          </a:prstGeom>
          <a:solidFill>
            <a:srgbClr val="00AA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i="1" dirty="0"/>
              <a:t>Informasjonsmøte i lokalområdet fra Politiets side</a:t>
            </a:r>
          </a:p>
        </p:txBody>
      </p:sp>
      <p:sp>
        <p:nvSpPr>
          <p:cNvPr id="12" name="Speech Bubble: Rectangle with Corners Rounded 7">
            <a:extLst>
              <a:ext uri="{FF2B5EF4-FFF2-40B4-BE49-F238E27FC236}">
                <a16:creationId xmlns:a16="http://schemas.microsoft.com/office/drawing/2014/main" id="{1034EFCB-EBA6-411E-8B1D-8BC750FC7725}"/>
              </a:ext>
            </a:extLst>
          </p:cNvPr>
          <p:cNvSpPr/>
          <p:nvPr/>
        </p:nvSpPr>
        <p:spPr>
          <a:xfrm>
            <a:off x="7262942" y="3705160"/>
            <a:ext cx="1767713" cy="1037230"/>
          </a:xfrm>
          <a:prstGeom prst="wedgeRoundRectCallout">
            <a:avLst>
              <a:gd name="adj1" fmla="val 60619"/>
              <a:gd name="adj2" fmla="val -14474"/>
              <a:gd name="adj3" fmla="val 16667"/>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i="1" dirty="0"/>
              <a:t>Utdelt informasjonsbrev fra politiet</a:t>
            </a:r>
          </a:p>
        </p:txBody>
      </p:sp>
      <p:sp>
        <p:nvSpPr>
          <p:cNvPr id="13" name="Speech Bubble: Rectangle with Corners Rounded 8">
            <a:extLst>
              <a:ext uri="{FF2B5EF4-FFF2-40B4-BE49-F238E27FC236}">
                <a16:creationId xmlns:a16="http://schemas.microsoft.com/office/drawing/2014/main" id="{47DCF046-9B8B-4A78-9535-1370CFE00C13}"/>
              </a:ext>
            </a:extLst>
          </p:cNvPr>
          <p:cNvSpPr/>
          <p:nvPr/>
        </p:nvSpPr>
        <p:spPr>
          <a:xfrm>
            <a:off x="3935760" y="2492896"/>
            <a:ext cx="1715548" cy="1037230"/>
          </a:xfrm>
          <a:prstGeom prst="wedgeRoundRectCallout">
            <a:avLst>
              <a:gd name="adj1" fmla="val -35809"/>
              <a:gd name="adj2" fmla="val -69079"/>
              <a:gd name="adj3" fmla="val 16667"/>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i="1" dirty="0">
                <a:latin typeface="Tahoma" panose="020B0604030504040204" pitchFamily="34" charset="0"/>
              </a:rPr>
              <a:t>K</a:t>
            </a:r>
            <a:r>
              <a:rPr lang="en-GB" sz="1800" b="0" i="1" u="none" strike="noStrike" dirty="0">
                <a:effectLst/>
                <a:latin typeface="Tahoma" panose="020B0604030504040204" pitchFamily="34" charset="0"/>
              </a:rPr>
              <a:t>ommunen</a:t>
            </a:r>
            <a:r>
              <a:rPr lang="en-GB" sz="1400" i="1" dirty="0"/>
              <a:t> </a:t>
            </a:r>
            <a:endParaRPr lang="nb-NO" sz="1400" i="1" dirty="0"/>
          </a:p>
        </p:txBody>
      </p:sp>
      <p:sp>
        <p:nvSpPr>
          <p:cNvPr id="14" name="Speech Bubble: Rectangle with Corners Rounded 9">
            <a:extLst>
              <a:ext uri="{FF2B5EF4-FFF2-40B4-BE49-F238E27FC236}">
                <a16:creationId xmlns:a16="http://schemas.microsoft.com/office/drawing/2014/main" id="{43F8C9E0-314C-4AFA-89B0-0DC7EEC23D8D}"/>
              </a:ext>
            </a:extLst>
          </p:cNvPr>
          <p:cNvSpPr/>
          <p:nvPr/>
        </p:nvSpPr>
        <p:spPr>
          <a:xfrm>
            <a:off x="2456016" y="3657393"/>
            <a:ext cx="2087124" cy="1037230"/>
          </a:xfrm>
          <a:prstGeom prst="wedgeRoundRectCallout">
            <a:avLst>
              <a:gd name="adj1" fmla="val -59086"/>
              <a:gd name="adj2" fmla="val 3290"/>
              <a:gd name="adj3" fmla="val 16667"/>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i="1" dirty="0"/>
              <a:t>Mail fra politiet</a:t>
            </a:r>
          </a:p>
        </p:txBody>
      </p:sp>
      <p:sp>
        <p:nvSpPr>
          <p:cNvPr id="15" name="Speech Bubble: Rectangle with Corners Rounded 10">
            <a:extLst>
              <a:ext uri="{FF2B5EF4-FFF2-40B4-BE49-F238E27FC236}">
                <a16:creationId xmlns:a16="http://schemas.microsoft.com/office/drawing/2014/main" id="{883AFF8A-6F2E-476B-9645-AF22FAB38157}"/>
              </a:ext>
            </a:extLst>
          </p:cNvPr>
          <p:cNvSpPr/>
          <p:nvPr/>
        </p:nvSpPr>
        <p:spPr>
          <a:xfrm>
            <a:off x="4695542" y="3705160"/>
            <a:ext cx="2414998" cy="1037230"/>
          </a:xfrm>
          <a:prstGeom prst="wedgeRoundRectCallout">
            <a:avLst/>
          </a:prstGeom>
          <a:solidFill>
            <a:srgbClr val="0076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0" i="1" u="none" strike="noStrike" dirty="0">
                <a:effectLst/>
                <a:latin typeface="Tahoma" panose="020B0604030504040204" pitchFamily="34" charset="0"/>
              </a:rPr>
              <a:t>Brosjyre</a:t>
            </a:r>
            <a:r>
              <a:rPr lang="en-GB" sz="1400" dirty="0"/>
              <a:t> </a:t>
            </a:r>
            <a:endParaRPr lang="nb-NO" sz="1400" dirty="0"/>
          </a:p>
        </p:txBody>
      </p:sp>
      <p:sp>
        <p:nvSpPr>
          <p:cNvPr id="16" name="Speech Bubble: Rectangle with Corners Rounded 11">
            <a:extLst>
              <a:ext uri="{FF2B5EF4-FFF2-40B4-BE49-F238E27FC236}">
                <a16:creationId xmlns:a16="http://schemas.microsoft.com/office/drawing/2014/main" id="{C891421C-DB0D-4E69-B9CB-373D76736838}"/>
              </a:ext>
            </a:extLst>
          </p:cNvPr>
          <p:cNvSpPr/>
          <p:nvPr/>
        </p:nvSpPr>
        <p:spPr>
          <a:xfrm>
            <a:off x="5807968" y="2492896"/>
            <a:ext cx="1767713" cy="1037230"/>
          </a:xfrm>
          <a:prstGeom prst="wedgeRoundRectCallout">
            <a:avLst>
              <a:gd name="adj1" fmla="val 33702"/>
              <a:gd name="adj2" fmla="val -62500"/>
              <a:gd name="adj3" fmla="val 16667"/>
            </a:avLst>
          </a:prstGeom>
          <a:solidFill>
            <a:srgbClr val="8ABF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i="1" dirty="0"/>
              <a:t>Lokalradio</a:t>
            </a:r>
          </a:p>
        </p:txBody>
      </p:sp>
      <p:sp>
        <p:nvSpPr>
          <p:cNvPr id="17" name="Speech Bubble: Rectangle with Corners Rounded 13">
            <a:extLst>
              <a:ext uri="{FF2B5EF4-FFF2-40B4-BE49-F238E27FC236}">
                <a16:creationId xmlns:a16="http://schemas.microsoft.com/office/drawing/2014/main" id="{7EC2C9D9-E6AD-49D9-89FA-082AADF2FEA7}"/>
              </a:ext>
            </a:extLst>
          </p:cNvPr>
          <p:cNvSpPr/>
          <p:nvPr/>
        </p:nvSpPr>
        <p:spPr>
          <a:xfrm>
            <a:off x="7693952" y="2511652"/>
            <a:ext cx="1715548" cy="1037230"/>
          </a:xfrm>
          <a:prstGeom prst="wedgeRoundRectCallout">
            <a:avLst>
              <a:gd name="adj1" fmla="val -35809"/>
              <a:gd name="adj2" fmla="val -69079"/>
              <a:gd name="adj3" fmla="val 16667"/>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i="1" dirty="0"/>
              <a:t>Fikk noe sendt i posten</a:t>
            </a:r>
          </a:p>
        </p:txBody>
      </p:sp>
      <p:sp>
        <p:nvSpPr>
          <p:cNvPr id="18" name="Text Placeholder 9">
            <a:extLst>
              <a:ext uri="{FF2B5EF4-FFF2-40B4-BE49-F238E27FC236}">
                <a16:creationId xmlns:a16="http://schemas.microsoft.com/office/drawing/2014/main" id="{294CAD01-366D-4FEB-8FBA-B5BA1FF4BD7E}"/>
              </a:ext>
            </a:extLst>
          </p:cNvPr>
          <p:cNvSpPr>
            <a:spLocks noGrp="1"/>
          </p:cNvSpPr>
          <p:nvPr>
            <p:ph type="body" sz="quarter" idx="17"/>
          </p:nvPr>
        </p:nvSpPr>
        <p:spPr>
          <a:xfrm>
            <a:off x="407368" y="6021288"/>
            <a:ext cx="11463417" cy="215444"/>
          </a:xfrm>
        </p:spPr>
        <p:txBody>
          <a:bodyPr/>
          <a:lstStyle/>
          <a:p>
            <a:r>
              <a:rPr lang="nb-NO" dirty="0"/>
              <a:t>Base: De som har svart at de har fått informasjon om driften ved beredskapssenteret «andre steder», (n=63)</a:t>
            </a:r>
          </a:p>
        </p:txBody>
      </p:sp>
    </p:spTree>
    <p:extLst>
      <p:ext uri="{BB962C8B-B14F-4D97-AF65-F5344CB8AC3E}">
        <p14:creationId xmlns:p14="http://schemas.microsoft.com/office/powerpoint/2010/main" val="5992463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5E77C17-D01F-441E-89B1-B2905769C0F2}"/>
              </a:ext>
            </a:extLst>
          </p:cNvPr>
          <p:cNvSpPr>
            <a:spLocks noGrp="1"/>
          </p:cNvSpPr>
          <p:nvPr>
            <p:ph type="body" sz="quarter" idx="15"/>
          </p:nvPr>
        </p:nvSpPr>
        <p:spPr>
          <a:xfrm>
            <a:off x="479376" y="2204864"/>
            <a:ext cx="8067478" cy="292388"/>
          </a:xfrm>
        </p:spPr>
        <p:txBody>
          <a:bodyPr/>
          <a:lstStyle/>
          <a:p>
            <a:r>
              <a:rPr lang="nb-NO" sz="1600" i="1" dirty="0">
                <a:solidFill>
                  <a:schemeClr val="tx1"/>
                </a:solidFill>
                <a:cs typeface="Times New Roman" panose="02020603050405020304" pitchFamily="18" charset="0"/>
              </a:rPr>
              <a:t>I hvilken grad ønsker du mer informasjon om driften ved beredskapssenteret? </a:t>
            </a:r>
          </a:p>
        </p:txBody>
      </p:sp>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18</a:t>
            </a:fld>
            <a:r>
              <a:rPr lang="nb-NO" noProof="0" dirty="0"/>
              <a:t> ‒ </a:t>
            </a:r>
          </a:p>
        </p:txBody>
      </p:sp>
      <p:sp>
        <p:nvSpPr>
          <p:cNvPr id="7" name="Title 6">
            <a:extLst>
              <a:ext uri="{FF2B5EF4-FFF2-40B4-BE49-F238E27FC236}">
                <a16:creationId xmlns:a16="http://schemas.microsoft.com/office/drawing/2014/main" id="{AFAB9416-0A9F-47EF-B35A-71A6C2DFFEB4}"/>
              </a:ext>
            </a:extLst>
          </p:cNvPr>
          <p:cNvSpPr>
            <a:spLocks noGrp="1"/>
          </p:cNvSpPr>
          <p:nvPr>
            <p:ph type="title"/>
          </p:nvPr>
        </p:nvSpPr>
        <p:spPr>
          <a:xfrm>
            <a:off x="404786" y="382816"/>
            <a:ext cx="11382428" cy="313932"/>
          </a:xfrm>
        </p:spPr>
        <p:txBody>
          <a:bodyPr/>
          <a:lstStyle/>
          <a:p>
            <a:r>
              <a:rPr lang="nb-NO" sz="1600" dirty="0">
                <a:solidFill>
                  <a:schemeClr val="bg1">
                    <a:lumMod val="75000"/>
                  </a:schemeClr>
                </a:solidFill>
              </a:rPr>
              <a:t>INFORMASJON</a:t>
            </a:r>
          </a:p>
        </p:txBody>
      </p:sp>
      <p:sp>
        <p:nvSpPr>
          <p:cNvPr id="32" name="Text Placeholder 9">
            <a:extLst>
              <a:ext uri="{FF2B5EF4-FFF2-40B4-BE49-F238E27FC236}">
                <a16:creationId xmlns:a16="http://schemas.microsoft.com/office/drawing/2014/main" id="{811CEFB6-2945-48B8-BB9A-6BBDB59AE4A5}"/>
              </a:ext>
            </a:extLst>
          </p:cNvPr>
          <p:cNvSpPr txBox="1">
            <a:spLocks/>
          </p:cNvSpPr>
          <p:nvPr/>
        </p:nvSpPr>
        <p:spPr>
          <a:xfrm>
            <a:off x="407368" y="6067032"/>
            <a:ext cx="11463417" cy="215444"/>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 typeface="Arial" panose="020B0604020202020204" pitchFamily="34" charset="0"/>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dirty="0"/>
              <a:t>Base: Alle, n=602</a:t>
            </a:r>
          </a:p>
        </p:txBody>
      </p:sp>
      <p:sp>
        <p:nvSpPr>
          <p:cNvPr id="33" name="Rectangle 5">
            <a:extLst>
              <a:ext uri="{FF2B5EF4-FFF2-40B4-BE49-F238E27FC236}">
                <a16:creationId xmlns:a16="http://schemas.microsoft.com/office/drawing/2014/main" id="{F715DD3E-4B6C-4875-BBB3-28785A628284}"/>
              </a:ext>
            </a:extLst>
          </p:cNvPr>
          <p:cNvSpPr/>
          <p:nvPr/>
        </p:nvSpPr>
        <p:spPr>
          <a:xfrm>
            <a:off x="454940" y="4725144"/>
            <a:ext cx="11329692" cy="1152128"/>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nb-NO" sz="1100" dirty="0">
                <a:solidFill>
                  <a:schemeClr val="tx1"/>
                </a:solidFill>
              </a:rPr>
              <a:t>Samtidig som flertallet av de spurte (64 %) svarte at de i «liten» eller «ingen grad» har mottatt informasjon om beredskapssenteret, er det også et flertall (58 %) som i «liten» eller «ingen grad» ønsker mer informasjon om driften ved senteret. 4 av 10 ønsker i «noen» eller «høy grad» mer informasjon om driften ved senteret.</a:t>
            </a:r>
          </a:p>
          <a:p>
            <a:pPr algn="just"/>
            <a:endParaRPr lang="nb-NO" sz="1100" dirty="0">
              <a:solidFill>
                <a:schemeClr val="tx1"/>
              </a:solidFill>
            </a:endParaRPr>
          </a:p>
          <a:p>
            <a:pPr algn="just"/>
            <a:r>
              <a:rPr lang="nb-NO" sz="1100" dirty="0">
                <a:solidFill>
                  <a:schemeClr val="tx1"/>
                </a:solidFill>
              </a:rPr>
              <a:t>Blant undergruppene er det en høyere andel av de som er bosatt i Bjørndal som svarer at de i «høy grad» ønsker mer informasjon (18 %), sammenlignet med gjennomsnittet av de spurte. Blant de som anslår at de bor 2.1–3 km unna senteret ønsker 17 % i «høy grad» å få mer informasjon, mens 36 % av de som anslår at de bor 3.1–5 km</a:t>
            </a:r>
            <a:r>
              <a:rPr lang="en-GB" sz="1100" dirty="0">
                <a:solidFill>
                  <a:schemeClr val="tx1"/>
                </a:solidFill>
              </a:rPr>
              <a:t> fra senteret</a:t>
            </a:r>
            <a:r>
              <a:rPr lang="nb-NO" sz="1100" dirty="0">
                <a:solidFill>
                  <a:schemeClr val="tx1"/>
                </a:solidFill>
              </a:rPr>
              <a:t> i «noen grad» ønsker å få mer informasjon.</a:t>
            </a:r>
          </a:p>
        </p:txBody>
      </p:sp>
      <p:graphicFrame>
        <p:nvGraphicFramePr>
          <p:cNvPr id="34" name="Chart 4">
            <a:extLst>
              <a:ext uri="{FF2B5EF4-FFF2-40B4-BE49-F238E27FC236}">
                <a16:creationId xmlns:a16="http://schemas.microsoft.com/office/drawing/2014/main" id="{10D0C964-89DF-4A29-AF31-9DD2CB02690D}"/>
              </a:ext>
            </a:extLst>
          </p:cNvPr>
          <p:cNvGraphicFramePr/>
          <p:nvPr>
            <p:extLst>
              <p:ext uri="{D42A27DB-BD31-4B8C-83A1-F6EECF244321}">
                <p14:modId xmlns:p14="http://schemas.microsoft.com/office/powerpoint/2010/main" val="2450596984"/>
              </p:ext>
            </p:extLst>
          </p:nvPr>
        </p:nvGraphicFramePr>
        <p:xfrm>
          <a:off x="119336" y="2132856"/>
          <a:ext cx="11819795" cy="3055569"/>
        </p:xfrm>
        <a:graphic>
          <a:graphicData uri="http://schemas.openxmlformats.org/drawingml/2006/chart">
            <c:chart xmlns:c="http://schemas.openxmlformats.org/drawingml/2006/chart" xmlns:r="http://schemas.openxmlformats.org/officeDocument/2006/relationships" r:id="rId2"/>
          </a:graphicData>
        </a:graphic>
      </p:graphicFrame>
      <p:sp>
        <p:nvSpPr>
          <p:cNvPr id="8" name="TekstSylinder 7">
            <a:extLst>
              <a:ext uri="{FF2B5EF4-FFF2-40B4-BE49-F238E27FC236}">
                <a16:creationId xmlns:a16="http://schemas.microsoft.com/office/drawing/2014/main" id="{C950F0F1-D74E-428C-874C-738E4017C839}"/>
              </a:ext>
            </a:extLst>
          </p:cNvPr>
          <p:cNvSpPr txBox="1"/>
          <p:nvPr/>
        </p:nvSpPr>
        <p:spPr>
          <a:xfrm>
            <a:off x="407368" y="836712"/>
            <a:ext cx="11305256" cy="954107"/>
          </a:xfrm>
          <a:prstGeom prst="rect">
            <a:avLst/>
          </a:prstGeom>
          <a:noFill/>
        </p:spPr>
        <p:txBody>
          <a:bodyPr wrap="square" rtlCol="0">
            <a:spAutoFit/>
          </a:bodyPr>
          <a:lstStyle/>
          <a:p>
            <a:r>
              <a:rPr lang="en-GB" sz="2800" dirty="0">
                <a:latin typeface="+mj-lt"/>
              </a:rPr>
              <a:t>4 av 10 ønsker i </a:t>
            </a:r>
            <a:r>
              <a:rPr lang="nb-NO" sz="2800" b="1" dirty="0">
                <a:solidFill>
                  <a:schemeClr val="tx1"/>
                </a:solidFill>
                <a:cs typeface="Calibri" panose="020F0502020204030204" pitchFamily="34" charset="0"/>
              </a:rPr>
              <a:t>«</a:t>
            </a:r>
            <a:r>
              <a:rPr lang="en-GB" sz="2800" dirty="0">
                <a:latin typeface="+mj-lt"/>
              </a:rPr>
              <a:t>noen</a:t>
            </a:r>
            <a:r>
              <a:rPr lang="nb-NO" sz="2800" b="1" dirty="0">
                <a:solidFill>
                  <a:schemeClr val="tx1"/>
                </a:solidFill>
                <a:cs typeface="Calibri" panose="020F0502020204030204" pitchFamily="34" charset="0"/>
              </a:rPr>
              <a:t>»</a:t>
            </a:r>
            <a:r>
              <a:rPr lang="en-GB" sz="2800" dirty="0">
                <a:latin typeface="+mj-lt"/>
              </a:rPr>
              <a:t> eller </a:t>
            </a:r>
            <a:r>
              <a:rPr lang="nb-NO" sz="2800" b="1" dirty="0">
                <a:solidFill>
                  <a:schemeClr val="tx1"/>
                </a:solidFill>
                <a:cs typeface="Calibri" panose="020F0502020204030204" pitchFamily="34" charset="0"/>
              </a:rPr>
              <a:t>«</a:t>
            </a:r>
            <a:r>
              <a:rPr lang="en-GB" sz="2800" dirty="0">
                <a:latin typeface="+mj-lt"/>
              </a:rPr>
              <a:t>høy grad</a:t>
            </a:r>
            <a:r>
              <a:rPr lang="nb-NO" sz="2800" b="1" dirty="0">
                <a:solidFill>
                  <a:schemeClr val="tx1"/>
                </a:solidFill>
                <a:cs typeface="Calibri" panose="020F0502020204030204" pitchFamily="34" charset="0"/>
              </a:rPr>
              <a:t>»</a:t>
            </a:r>
            <a:r>
              <a:rPr lang="en-GB" sz="2800" dirty="0">
                <a:latin typeface="+mj-lt"/>
              </a:rPr>
              <a:t> mer informasjon om driften ved senteret</a:t>
            </a:r>
          </a:p>
        </p:txBody>
      </p:sp>
    </p:spTree>
    <p:extLst>
      <p:ext uri="{BB962C8B-B14F-4D97-AF65-F5344CB8AC3E}">
        <p14:creationId xmlns:p14="http://schemas.microsoft.com/office/powerpoint/2010/main" val="32236531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5E77C17-D01F-441E-89B1-B2905769C0F2}"/>
              </a:ext>
            </a:extLst>
          </p:cNvPr>
          <p:cNvSpPr>
            <a:spLocks noGrp="1"/>
          </p:cNvSpPr>
          <p:nvPr>
            <p:ph type="body" sz="quarter" idx="15"/>
          </p:nvPr>
        </p:nvSpPr>
        <p:spPr>
          <a:xfrm>
            <a:off x="479376" y="1844824"/>
            <a:ext cx="10945216" cy="538609"/>
          </a:xfrm>
        </p:spPr>
        <p:txBody>
          <a:bodyPr/>
          <a:lstStyle/>
          <a:p>
            <a:r>
              <a:rPr lang="nb-NO" sz="1600" i="1" dirty="0">
                <a:solidFill>
                  <a:schemeClr val="tx1"/>
                </a:solidFill>
                <a:cs typeface="Times New Roman" panose="02020603050405020304" pitchFamily="18" charset="0"/>
              </a:rPr>
              <a:t>Du har svart at du ønsker mer informasjon om driften ved beredskapssenteret. Hvilke(n) aktivitet(er) ønsker du mer informasjon om? </a:t>
            </a:r>
          </a:p>
        </p:txBody>
      </p:sp>
      <p:sp>
        <p:nvSpPr>
          <p:cNvPr id="10" name="Text Placeholder 9">
            <a:extLst>
              <a:ext uri="{FF2B5EF4-FFF2-40B4-BE49-F238E27FC236}">
                <a16:creationId xmlns:a16="http://schemas.microsoft.com/office/drawing/2014/main" id="{0FA4725A-4AFC-434D-A12C-419DC40F021F}"/>
              </a:ext>
            </a:extLst>
          </p:cNvPr>
          <p:cNvSpPr>
            <a:spLocks noGrp="1"/>
          </p:cNvSpPr>
          <p:nvPr>
            <p:ph type="body" sz="quarter" idx="17"/>
          </p:nvPr>
        </p:nvSpPr>
        <p:spPr>
          <a:xfrm>
            <a:off x="404786" y="6021868"/>
            <a:ext cx="11463417" cy="215444"/>
          </a:xfrm>
        </p:spPr>
        <p:txBody>
          <a:bodyPr/>
          <a:lstStyle/>
          <a:p>
            <a:r>
              <a:rPr lang="nb-NO" dirty="0"/>
              <a:t>Base: De som ønsker mer informasjon om driften ved beredskapssenteret, (n=248)</a:t>
            </a:r>
          </a:p>
        </p:txBody>
      </p:sp>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19</a:t>
            </a:fld>
            <a:r>
              <a:rPr lang="nb-NO" noProof="0" dirty="0"/>
              <a:t> ‒ </a:t>
            </a:r>
          </a:p>
        </p:txBody>
      </p:sp>
      <p:sp>
        <p:nvSpPr>
          <p:cNvPr id="7" name="Title 6">
            <a:extLst>
              <a:ext uri="{FF2B5EF4-FFF2-40B4-BE49-F238E27FC236}">
                <a16:creationId xmlns:a16="http://schemas.microsoft.com/office/drawing/2014/main" id="{AFAB9416-0A9F-47EF-B35A-71A6C2DFFEB4}"/>
              </a:ext>
            </a:extLst>
          </p:cNvPr>
          <p:cNvSpPr>
            <a:spLocks noGrp="1"/>
          </p:cNvSpPr>
          <p:nvPr>
            <p:ph type="title"/>
          </p:nvPr>
        </p:nvSpPr>
        <p:spPr>
          <a:xfrm>
            <a:off x="404786" y="382816"/>
            <a:ext cx="11382428" cy="313932"/>
          </a:xfrm>
        </p:spPr>
        <p:txBody>
          <a:bodyPr/>
          <a:lstStyle/>
          <a:p>
            <a:r>
              <a:rPr lang="nb-NO" sz="1600" dirty="0">
                <a:solidFill>
                  <a:schemeClr val="bg1">
                    <a:lumMod val="75000"/>
                  </a:schemeClr>
                </a:solidFill>
              </a:rPr>
              <a:t>INFORMASJON</a:t>
            </a:r>
          </a:p>
        </p:txBody>
      </p:sp>
      <p:graphicFrame>
        <p:nvGraphicFramePr>
          <p:cNvPr id="11" name="Chart 4">
            <a:extLst>
              <a:ext uri="{FF2B5EF4-FFF2-40B4-BE49-F238E27FC236}">
                <a16:creationId xmlns:a16="http://schemas.microsoft.com/office/drawing/2014/main" id="{7F32812B-5798-4982-906D-815B10C75F67}"/>
              </a:ext>
            </a:extLst>
          </p:cNvPr>
          <p:cNvGraphicFramePr/>
          <p:nvPr>
            <p:extLst>
              <p:ext uri="{D42A27DB-BD31-4B8C-83A1-F6EECF244321}">
                <p14:modId xmlns:p14="http://schemas.microsoft.com/office/powerpoint/2010/main" val="1270867467"/>
              </p:ext>
            </p:extLst>
          </p:nvPr>
        </p:nvGraphicFramePr>
        <p:xfrm>
          <a:off x="-312712" y="2318820"/>
          <a:ext cx="10513168" cy="3054396"/>
        </p:xfrm>
        <a:graphic>
          <a:graphicData uri="http://schemas.openxmlformats.org/drawingml/2006/chart">
            <c:chart xmlns:c="http://schemas.openxmlformats.org/drawingml/2006/chart" xmlns:r="http://schemas.openxmlformats.org/officeDocument/2006/relationships" r:id="rId2"/>
          </a:graphicData>
        </a:graphic>
      </p:graphicFrame>
      <p:sp>
        <p:nvSpPr>
          <p:cNvPr id="8" name="Rektangel 7">
            <a:extLst>
              <a:ext uri="{FF2B5EF4-FFF2-40B4-BE49-F238E27FC236}">
                <a16:creationId xmlns:a16="http://schemas.microsoft.com/office/drawing/2014/main" id="{C8959185-00DA-4BDD-9035-10A3E7895722}"/>
              </a:ext>
            </a:extLst>
          </p:cNvPr>
          <p:cNvSpPr/>
          <p:nvPr/>
        </p:nvSpPr>
        <p:spPr>
          <a:xfrm>
            <a:off x="395955" y="5350004"/>
            <a:ext cx="11382428" cy="45526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nb-NO" sz="1100" dirty="0">
                <a:solidFill>
                  <a:schemeClr val="tx1"/>
                </a:solidFill>
              </a:rPr>
              <a:t>Blant de som ønsker mer informasjon om driften ved beredskapssenteret svarer flest at de ønsker mer informasjon om helikopterflyving (70 %), deretter kommer informasjon om «andre aktiviteter» ved senteret (45 %) og skytetrening (35 %). </a:t>
            </a:r>
          </a:p>
        </p:txBody>
      </p:sp>
      <p:sp>
        <p:nvSpPr>
          <p:cNvPr id="13" name="TekstSylinder 12">
            <a:extLst>
              <a:ext uri="{FF2B5EF4-FFF2-40B4-BE49-F238E27FC236}">
                <a16:creationId xmlns:a16="http://schemas.microsoft.com/office/drawing/2014/main" id="{7C49A1CB-4240-4B7A-96C9-8F4542F27CB3}"/>
              </a:ext>
            </a:extLst>
          </p:cNvPr>
          <p:cNvSpPr txBox="1"/>
          <p:nvPr/>
        </p:nvSpPr>
        <p:spPr>
          <a:xfrm>
            <a:off x="407368" y="836712"/>
            <a:ext cx="11881320" cy="523220"/>
          </a:xfrm>
          <a:prstGeom prst="rect">
            <a:avLst/>
          </a:prstGeom>
          <a:noFill/>
        </p:spPr>
        <p:txBody>
          <a:bodyPr wrap="square" rtlCol="0">
            <a:spAutoFit/>
          </a:bodyPr>
          <a:lstStyle/>
          <a:p>
            <a:r>
              <a:rPr lang="en-GB" sz="2800" dirty="0">
                <a:latin typeface="+mj-lt"/>
              </a:rPr>
              <a:t>Det ønskes særlig mer informasjon om helikopterflyving</a:t>
            </a:r>
          </a:p>
        </p:txBody>
      </p:sp>
    </p:spTree>
    <p:extLst>
      <p:ext uri="{BB962C8B-B14F-4D97-AF65-F5344CB8AC3E}">
        <p14:creationId xmlns:p14="http://schemas.microsoft.com/office/powerpoint/2010/main" val="34886954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Plassholder for lysbildenummer 7">
            <a:extLst>
              <a:ext uri="{FF2B5EF4-FFF2-40B4-BE49-F238E27FC236}">
                <a16:creationId xmlns:a16="http://schemas.microsoft.com/office/drawing/2014/main" id="{04C191CF-A37C-4CAF-B10F-700581FA8DE3}"/>
              </a:ext>
            </a:extLst>
          </p:cNvPr>
          <p:cNvSpPr>
            <a:spLocks noGrp="1"/>
          </p:cNvSpPr>
          <p:nvPr>
            <p:ph type="sldNum" sz="quarter" idx="20"/>
          </p:nvPr>
        </p:nvSpPr>
        <p:spPr/>
        <p:txBody>
          <a:bodyPr/>
          <a:lstStyle/>
          <a:p>
            <a:fld id="{D61AABEC-672F-4B68-B914-690DA978312C}" type="slidenum">
              <a:rPr lang="en-GB" smtClean="0"/>
              <a:pPr/>
              <a:t>2</a:t>
            </a:fld>
            <a:r>
              <a:rPr lang="en-GB" dirty="0"/>
              <a:t> ‒ </a:t>
            </a:r>
          </a:p>
        </p:txBody>
      </p:sp>
      <p:sp>
        <p:nvSpPr>
          <p:cNvPr id="41" name="Rectangle 5">
            <a:extLst>
              <a:ext uri="{FF2B5EF4-FFF2-40B4-BE49-F238E27FC236}">
                <a16:creationId xmlns:a16="http://schemas.microsoft.com/office/drawing/2014/main" id="{4D5F9BBA-3D00-4678-B889-E0FDD544D6FC}"/>
              </a:ext>
            </a:extLst>
          </p:cNvPr>
          <p:cNvSpPr/>
          <p:nvPr/>
        </p:nvSpPr>
        <p:spPr bwMode="gray">
          <a:xfrm>
            <a:off x="375889" y="1735126"/>
            <a:ext cx="3589688" cy="1539524"/>
          </a:xfrm>
          <a:prstGeom prst="rect">
            <a:avLst/>
          </a:prstGeom>
          <a:solidFill>
            <a:schemeClr val="tx2"/>
          </a:solidFill>
          <a:ln w="762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base" latinLnBrk="0" hangingPunct="1">
              <a:lnSpc>
                <a:spcPct val="100000"/>
              </a:lnSpc>
              <a:spcBef>
                <a:spcPct val="0"/>
              </a:spcBef>
              <a:spcAft>
                <a:spcPts val="1600"/>
              </a:spcAft>
              <a:buClrTx/>
              <a:buSzTx/>
              <a:buFontTx/>
              <a:buNone/>
              <a:tabLst/>
              <a:defRPr/>
            </a:pPr>
            <a:endParaRPr kumimoji="0" lang="en-GB" sz="2133" b="0" i="0" u="none" strike="noStrike" kern="0" cap="none" spc="0" normalizeH="0" baseline="0" noProof="0" dirty="0">
              <a:ln>
                <a:noFill/>
              </a:ln>
              <a:solidFill>
                <a:prstClr val="white"/>
              </a:solidFill>
              <a:effectLst/>
              <a:uLnTx/>
              <a:uFillTx/>
            </a:endParaRPr>
          </a:p>
        </p:txBody>
      </p:sp>
      <p:sp>
        <p:nvSpPr>
          <p:cNvPr id="42" name="Rectangle 7">
            <a:extLst>
              <a:ext uri="{FF2B5EF4-FFF2-40B4-BE49-F238E27FC236}">
                <a16:creationId xmlns:a16="http://schemas.microsoft.com/office/drawing/2014/main" id="{2C5EBB65-9F54-400D-B7B7-5DA46E0AC2F3}"/>
              </a:ext>
            </a:extLst>
          </p:cNvPr>
          <p:cNvSpPr/>
          <p:nvPr/>
        </p:nvSpPr>
        <p:spPr bwMode="gray">
          <a:xfrm>
            <a:off x="4290799" y="1735126"/>
            <a:ext cx="3589688" cy="1539524"/>
          </a:xfrm>
          <a:prstGeom prst="rect">
            <a:avLst/>
          </a:prstGeom>
          <a:solidFill>
            <a:schemeClr val="tx2"/>
          </a:solidFill>
          <a:ln w="762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base" latinLnBrk="0" hangingPunct="1">
              <a:lnSpc>
                <a:spcPct val="100000"/>
              </a:lnSpc>
              <a:spcBef>
                <a:spcPct val="0"/>
              </a:spcBef>
              <a:spcAft>
                <a:spcPts val="1600"/>
              </a:spcAft>
              <a:buClrTx/>
              <a:buSzTx/>
              <a:buFontTx/>
              <a:buNone/>
              <a:tabLst/>
              <a:defRPr/>
            </a:pPr>
            <a:endParaRPr kumimoji="0" lang="en-GB" sz="2133" b="0" i="0" u="none" strike="noStrike" kern="0" cap="none" spc="0" normalizeH="0" baseline="0" noProof="0" dirty="0">
              <a:ln>
                <a:noFill/>
              </a:ln>
              <a:solidFill>
                <a:prstClr val="white"/>
              </a:solidFill>
              <a:effectLst/>
              <a:uLnTx/>
              <a:uFillTx/>
            </a:endParaRPr>
          </a:p>
        </p:txBody>
      </p:sp>
      <p:sp>
        <p:nvSpPr>
          <p:cNvPr id="43" name="Rectangle 8">
            <a:extLst>
              <a:ext uri="{FF2B5EF4-FFF2-40B4-BE49-F238E27FC236}">
                <a16:creationId xmlns:a16="http://schemas.microsoft.com/office/drawing/2014/main" id="{8D3B14C1-EB18-4355-A6A8-465077179CFC}"/>
              </a:ext>
            </a:extLst>
          </p:cNvPr>
          <p:cNvSpPr/>
          <p:nvPr/>
        </p:nvSpPr>
        <p:spPr bwMode="gray">
          <a:xfrm>
            <a:off x="8191019" y="1735126"/>
            <a:ext cx="3589688" cy="1539524"/>
          </a:xfrm>
          <a:prstGeom prst="rect">
            <a:avLst/>
          </a:prstGeom>
          <a:solidFill>
            <a:schemeClr val="tx2"/>
          </a:solidFill>
          <a:ln w="762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base" latinLnBrk="0" hangingPunct="1">
              <a:lnSpc>
                <a:spcPct val="100000"/>
              </a:lnSpc>
              <a:spcBef>
                <a:spcPct val="0"/>
              </a:spcBef>
              <a:spcAft>
                <a:spcPts val="1600"/>
              </a:spcAft>
              <a:buClrTx/>
              <a:buSzTx/>
              <a:buFontTx/>
              <a:buNone/>
              <a:tabLst/>
              <a:defRPr/>
            </a:pPr>
            <a:endParaRPr kumimoji="0" lang="en-GB" sz="2133" b="0" i="0" u="none" strike="noStrike" kern="0" cap="none" spc="0" normalizeH="0" baseline="0" noProof="0" dirty="0">
              <a:ln>
                <a:noFill/>
              </a:ln>
              <a:solidFill>
                <a:prstClr val="white"/>
              </a:solidFill>
              <a:effectLst/>
              <a:uLnTx/>
              <a:uFillTx/>
            </a:endParaRPr>
          </a:p>
        </p:txBody>
      </p:sp>
      <p:sp>
        <p:nvSpPr>
          <p:cNvPr id="44" name="Rectangle 9">
            <a:extLst>
              <a:ext uri="{FF2B5EF4-FFF2-40B4-BE49-F238E27FC236}">
                <a16:creationId xmlns:a16="http://schemas.microsoft.com/office/drawing/2014/main" id="{0391B110-70D1-4E87-B025-69EB69C6D2D4}"/>
              </a:ext>
            </a:extLst>
          </p:cNvPr>
          <p:cNvSpPr/>
          <p:nvPr/>
        </p:nvSpPr>
        <p:spPr bwMode="gray">
          <a:xfrm>
            <a:off x="375889" y="3888083"/>
            <a:ext cx="3589688" cy="1539524"/>
          </a:xfrm>
          <a:prstGeom prst="rect">
            <a:avLst/>
          </a:prstGeom>
          <a:solidFill>
            <a:schemeClr val="tx2"/>
          </a:solidFill>
          <a:ln w="762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base" latinLnBrk="0" hangingPunct="1">
              <a:lnSpc>
                <a:spcPct val="100000"/>
              </a:lnSpc>
              <a:spcBef>
                <a:spcPct val="0"/>
              </a:spcBef>
              <a:spcAft>
                <a:spcPts val="1600"/>
              </a:spcAft>
              <a:buClrTx/>
              <a:buSzTx/>
              <a:buFontTx/>
              <a:buNone/>
              <a:tabLst/>
              <a:defRPr/>
            </a:pPr>
            <a:endParaRPr kumimoji="0" lang="en-GB" sz="2133" b="0" i="0" u="none" strike="noStrike" kern="0" cap="none" spc="0" normalizeH="0" baseline="0" noProof="0" dirty="0">
              <a:ln>
                <a:noFill/>
              </a:ln>
              <a:solidFill>
                <a:prstClr val="white"/>
              </a:solidFill>
              <a:effectLst/>
              <a:uLnTx/>
              <a:uFillTx/>
            </a:endParaRPr>
          </a:p>
        </p:txBody>
      </p:sp>
      <p:sp>
        <p:nvSpPr>
          <p:cNvPr id="45" name="Rectangle 10">
            <a:extLst>
              <a:ext uri="{FF2B5EF4-FFF2-40B4-BE49-F238E27FC236}">
                <a16:creationId xmlns:a16="http://schemas.microsoft.com/office/drawing/2014/main" id="{A85C5677-0FB3-445E-B9BD-1589BCFCDB18}"/>
              </a:ext>
            </a:extLst>
          </p:cNvPr>
          <p:cNvSpPr/>
          <p:nvPr/>
        </p:nvSpPr>
        <p:spPr bwMode="gray">
          <a:xfrm>
            <a:off x="4290797" y="3888083"/>
            <a:ext cx="3589688" cy="1539524"/>
          </a:xfrm>
          <a:prstGeom prst="rect">
            <a:avLst/>
          </a:prstGeom>
          <a:solidFill>
            <a:schemeClr val="tx2"/>
          </a:solidFill>
          <a:ln w="762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base" latinLnBrk="0" hangingPunct="1">
              <a:lnSpc>
                <a:spcPct val="100000"/>
              </a:lnSpc>
              <a:spcBef>
                <a:spcPct val="0"/>
              </a:spcBef>
              <a:spcAft>
                <a:spcPts val="1600"/>
              </a:spcAft>
              <a:buClrTx/>
              <a:buSzTx/>
              <a:buFontTx/>
              <a:buNone/>
              <a:tabLst/>
              <a:defRPr/>
            </a:pPr>
            <a:endParaRPr kumimoji="0" lang="en-GB" sz="2133" b="0" i="0" u="none" strike="noStrike" kern="0" cap="none" spc="0" normalizeH="0" baseline="0" noProof="0" dirty="0">
              <a:ln>
                <a:noFill/>
              </a:ln>
              <a:solidFill>
                <a:prstClr val="white"/>
              </a:solidFill>
              <a:effectLst/>
              <a:uLnTx/>
              <a:uFillTx/>
            </a:endParaRPr>
          </a:p>
        </p:txBody>
      </p:sp>
      <p:sp>
        <p:nvSpPr>
          <p:cNvPr id="46" name="Rectangle 11">
            <a:extLst>
              <a:ext uri="{FF2B5EF4-FFF2-40B4-BE49-F238E27FC236}">
                <a16:creationId xmlns:a16="http://schemas.microsoft.com/office/drawing/2014/main" id="{85BF4C78-EFD4-4778-AA45-DED49A347441}"/>
              </a:ext>
            </a:extLst>
          </p:cNvPr>
          <p:cNvSpPr/>
          <p:nvPr/>
        </p:nvSpPr>
        <p:spPr bwMode="gray">
          <a:xfrm>
            <a:off x="8191017" y="3888083"/>
            <a:ext cx="3589688" cy="1539524"/>
          </a:xfrm>
          <a:prstGeom prst="rect">
            <a:avLst/>
          </a:prstGeom>
          <a:solidFill>
            <a:schemeClr val="tx2"/>
          </a:solidFill>
          <a:ln w="762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base" latinLnBrk="0" hangingPunct="1">
              <a:lnSpc>
                <a:spcPct val="100000"/>
              </a:lnSpc>
              <a:spcBef>
                <a:spcPct val="0"/>
              </a:spcBef>
              <a:spcAft>
                <a:spcPts val="1600"/>
              </a:spcAft>
              <a:buClrTx/>
              <a:buSzTx/>
              <a:buFontTx/>
              <a:buNone/>
              <a:tabLst/>
              <a:defRPr/>
            </a:pPr>
            <a:endParaRPr kumimoji="0" lang="en-GB" sz="2133" b="0" i="0" u="none" strike="noStrike" kern="0" cap="none" spc="0" normalizeH="0" baseline="0" noProof="0" dirty="0">
              <a:ln>
                <a:noFill/>
              </a:ln>
              <a:solidFill>
                <a:prstClr val="white"/>
              </a:solidFill>
              <a:effectLst/>
              <a:uLnTx/>
              <a:uFillTx/>
            </a:endParaRPr>
          </a:p>
        </p:txBody>
      </p:sp>
      <p:sp>
        <p:nvSpPr>
          <p:cNvPr id="47" name="TextBox 12">
            <a:extLst>
              <a:ext uri="{FF2B5EF4-FFF2-40B4-BE49-F238E27FC236}">
                <a16:creationId xmlns:a16="http://schemas.microsoft.com/office/drawing/2014/main" id="{FD989BDF-0F72-42FA-A6F6-07F250871BD5}"/>
              </a:ext>
            </a:extLst>
          </p:cNvPr>
          <p:cNvSpPr txBox="1"/>
          <p:nvPr/>
        </p:nvSpPr>
        <p:spPr bwMode="gray">
          <a:xfrm>
            <a:off x="695400" y="2276872"/>
            <a:ext cx="3220115" cy="492443"/>
          </a:xfrm>
          <a:prstGeom prst="rect">
            <a:avLst/>
          </a:prstGeom>
          <a:noFill/>
        </p:spPr>
        <p:txBody>
          <a:bodyPr wrap="square" lIns="0" tIns="0" rIns="0" bIns="0" rtlCol="0">
            <a:spAutoFit/>
          </a:bodyPr>
          <a:lstStyle/>
          <a:p>
            <a:pPr defTabSz="1232345">
              <a:spcBef>
                <a:spcPts val="1600"/>
              </a:spcBef>
            </a:pPr>
            <a:r>
              <a:rPr lang="en-GB" sz="3200" b="1" dirty="0">
                <a:solidFill>
                  <a:prstClr val="white"/>
                </a:solidFill>
                <a:latin typeface="Calibri"/>
              </a:rPr>
              <a:t>Om undersøkelsen</a:t>
            </a:r>
          </a:p>
        </p:txBody>
      </p:sp>
      <p:grpSp>
        <p:nvGrpSpPr>
          <p:cNvPr id="48" name="Group 1">
            <a:extLst>
              <a:ext uri="{FF2B5EF4-FFF2-40B4-BE49-F238E27FC236}">
                <a16:creationId xmlns:a16="http://schemas.microsoft.com/office/drawing/2014/main" id="{0FD55E70-142D-4BE9-9BFB-6C7B3E3358DF}"/>
              </a:ext>
            </a:extLst>
          </p:cNvPr>
          <p:cNvGrpSpPr/>
          <p:nvPr/>
        </p:nvGrpSpPr>
        <p:grpSpPr bwMode="gray">
          <a:xfrm>
            <a:off x="375888" y="1731727"/>
            <a:ext cx="931445" cy="941333"/>
            <a:chOff x="281916" y="1298795"/>
            <a:chExt cx="698584" cy="706000"/>
          </a:xfrm>
        </p:grpSpPr>
        <p:sp>
          <p:nvSpPr>
            <p:cNvPr id="49" name="Right Triangle 13">
              <a:extLst>
                <a:ext uri="{FF2B5EF4-FFF2-40B4-BE49-F238E27FC236}">
                  <a16:creationId xmlns:a16="http://schemas.microsoft.com/office/drawing/2014/main" id="{01C22D51-DA96-4A77-B37B-F82E47C118A2}"/>
                </a:ext>
              </a:extLst>
            </p:cNvPr>
            <p:cNvSpPr/>
            <p:nvPr/>
          </p:nvSpPr>
          <p:spPr bwMode="gray">
            <a:xfrm rot="5400000">
              <a:off x="279482" y="1303778"/>
              <a:ext cx="703451" cy="698584"/>
            </a:xfrm>
            <a:prstGeom prst="rtTriangle">
              <a:avLst/>
            </a:prstGeom>
            <a:solidFill>
              <a:sysClr val="window" lastClr="FFFFFF">
                <a:alpha val="31000"/>
              </a:sysClr>
            </a:solidFill>
            <a:ln w="762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base" latinLnBrk="0" hangingPunct="1">
                <a:lnSpc>
                  <a:spcPct val="100000"/>
                </a:lnSpc>
                <a:spcBef>
                  <a:spcPct val="0"/>
                </a:spcBef>
                <a:spcAft>
                  <a:spcPts val="1600"/>
                </a:spcAft>
                <a:buClrTx/>
                <a:buSzTx/>
                <a:buFontTx/>
                <a:buNone/>
                <a:tabLst/>
                <a:defRPr/>
              </a:pPr>
              <a:endParaRPr kumimoji="0" lang="en-GB" sz="2133" b="0" i="0" u="none" strike="noStrike" kern="0" cap="none" spc="0" normalizeH="0" baseline="0" noProof="0" dirty="0">
                <a:ln>
                  <a:noFill/>
                </a:ln>
                <a:solidFill>
                  <a:prstClr val="white"/>
                </a:solidFill>
                <a:effectLst/>
                <a:uLnTx/>
                <a:uFillTx/>
              </a:endParaRPr>
            </a:p>
          </p:txBody>
        </p:sp>
        <p:sp>
          <p:nvSpPr>
            <p:cNvPr id="50" name="TextBox 14">
              <a:extLst>
                <a:ext uri="{FF2B5EF4-FFF2-40B4-BE49-F238E27FC236}">
                  <a16:creationId xmlns:a16="http://schemas.microsoft.com/office/drawing/2014/main" id="{607CE383-9192-4868-ACF0-F80633A106A6}"/>
                </a:ext>
              </a:extLst>
            </p:cNvPr>
            <p:cNvSpPr txBox="1"/>
            <p:nvPr/>
          </p:nvSpPr>
          <p:spPr bwMode="gray">
            <a:xfrm>
              <a:off x="284911" y="1298795"/>
              <a:ext cx="382762" cy="430840"/>
            </a:xfrm>
            <a:prstGeom prst="rect">
              <a:avLst/>
            </a:prstGeom>
            <a:noFill/>
          </p:spPr>
          <p:txBody>
            <a:bodyPr wrap="square" lIns="0" tIns="0" rIns="0" bIns="0" rtlCol="0">
              <a:spAutoFit/>
            </a:bodyPr>
            <a:lstStyle/>
            <a:p>
              <a:pPr marL="0" marR="0" lvl="0" indent="0" algn="ctr" defTabSz="1232345" eaLnBrk="1" fontAlgn="auto" latinLnBrk="0" hangingPunct="1">
                <a:lnSpc>
                  <a:spcPct val="100000"/>
                </a:lnSpc>
                <a:spcBef>
                  <a:spcPts val="1600"/>
                </a:spcBef>
                <a:spcAft>
                  <a:spcPts val="0"/>
                </a:spcAft>
                <a:buClrTx/>
                <a:buSzTx/>
                <a:buFontTx/>
                <a:buNone/>
                <a:tabLst/>
                <a:defRPr/>
              </a:pPr>
              <a:r>
                <a:rPr kumimoji="0" lang="en-GB" sz="3733" b="1" i="0" u="none" strike="noStrike" kern="0" cap="none" spc="0" normalizeH="0" baseline="0" noProof="0" dirty="0">
                  <a:ln>
                    <a:noFill/>
                  </a:ln>
                  <a:solidFill>
                    <a:prstClr val="white"/>
                  </a:solidFill>
                  <a:effectLst/>
                  <a:uLnTx/>
                  <a:uFillTx/>
                  <a:latin typeface="Calibri"/>
                </a:rPr>
                <a:t>1</a:t>
              </a:r>
            </a:p>
          </p:txBody>
        </p:sp>
      </p:grpSp>
      <p:sp>
        <p:nvSpPr>
          <p:cNvPr id="51" name="TextBox 27">
            <a:extLst>
              <a:ext uri="{FF2B5EF4-FFF2-40B4-BE49-F238E27FC236}">
                <a16:creationId xmlns:a16="http://schemas.microsoft.com/office/drawing/2014/main" id="{692F5B6B-92A9-4978-A052-95A4952397BE}"/>
              </a:ext>
            </a:extLst>
          </p:cNvPr>
          <p:cNvSpPr txBox="1"/>
          <p:nvPr/>
        </p:nvSpPr>
        <p:spPr bwMode="gray">
          <a:xfrm>
            <a:off x="865207" y="4411623"/>
            <a:ext cx="3123968" cy="492443"/>
          </a:xfrm>
          <a:prstGeom prst="rect">
            <a:avLst/>
          </a:prstGeom>
          <a:noFill/>
        </p:spPr>
        <p:txBody>
          <a:bodyPr wrap="square" lIns="0" tIns="0" rIns="0" bIns="0" rtlCol="0">
            <a:spAutoFit/>
          </a:bodyPr>
          <a:lstStyle/>
          <a:p>
            <a:pPr defTabSz="1232345">
              <a:spcBef>
                <a:spcPts val="1600"/>
              </a:spcBef>
            </a:pPr>
            <a:r>
              <a:rPr lang="en-GB" sz="3200" b="1" dirty="0">
                <a:solidFill>
                  <a:prstClr val="white"/>
                </a:solidFill>
                <a:latin typeface="Calibri"/>
              </a:rPr>
              <a:t>Informasjon</a:t>
            </a:r>
          </a:p>
        </p:txBody>
      </p:sp>
      <p:grpSp>
        <p:nvGrpSpPr>
          <p:cNvPr id="52" name="Group 30">
            <a:extLst>
              <a:ext uri="{FF2B5EF4-FFF2-40B4-BE49-F238E27FC236}">
                <a16:creationId xmlns:a16="http://schemas.microsoft.com/office/drawing/2014/main" id="{041102E8-807D-4B36-ACEF-817F38852BF9}"/>
              </a:ext>
            </a:extLst>
          </p:cNvPr>
          <p:cNvGrpSpPr/>
          <p:nvPr/>
        </p:nvGrpSpPr>
        <p:grpSpPr bwMode="gray">
          <a:xfrm>
            <a:off x="4290798" y="1731727"/>
            <a:ext cx="931445" cy="941333"/>
            <a:chOff x="281916" y="1298795"/>
            <a:chExt cx="698584" cy="706000"/>
          </a:xfrm>
        </p:grpSpPr>
        <p:sp>
          <p:nvSpPr>
            <p:cNvPr id="53" name="Right Triangle 31">
              <a:extLst>
                <a:ext uri="{FF2B5EF4-FFF2-40B4-BE49-F238E27FC236}">
                  <a16:creationId xmlns:a16="http://schemas.microsoft.com/office/drawing/2014/main" id="{9C2D43E4-384F-40DF-A71F-56B62885FFAE}"/>
                </a:ext>
              </a:extLst>
            </p:cNvPr>
            <p:cNvSpPr/>
            <p:nvPr/>
          </p:nvSpPr>
          <p:spPr bwMode="gray">
            <a:xfrm rot="5400000">
              <a:off x="279482" y="1303778"/>
              <a:ext cx="703451" cy="698584"/>
            </a:xfrm>
            <a:prstGeom prst="rtTriangle">
              <a:avLst/>
            </a:prstGeom>
            <a:solidFill>
              <a:sysClr val="window" lastClr="FFFFFF">
                <a:alpha val="31000"/>
              </a:sysClr>
            </a:solidFill>
            <a:ln w="762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base" latinLnBrk="0" hangingPunct="1">
                <a:lnSpc>
                  <a:spcPct val="100000"/>
                </a:lnSpc>
                <a:spcBef>
                  <a:spcPct val="0"/>
                </a:spcBef>
                <a:spcAft>
                  <a:spcPts val="1600"/>
                </a:spcAft>
                <a:buClrTx/>
                <a:buSzTx/>
                <a:buFontTx/>
                <a:buNone/>
                <a:tabLst/>
                <a:defRPr/>
              </a:pPr>
              <a:endParaRPr kumimoji="0" lang="en-GB" sz="2133" b="0" i="0" u="none" strike="noStrike" kern="0" cap="none" spc="0" normalizeH="0" baseline="0" noProof="0" dirty="0">
                <a:ln>
                  <a:noFill/>
                </a:ln>
                <a:solidFill>
                  <a:prstClr val="white"/>
                </a:solidFill>
                <a:effectLst/>
                <a:uLnTx/>
                <a:uFillTx/>
              </a:endParaRPr>
            </a:p>
          </p:txBody>
        </p:sp>
        <p:sp>
          <p:nvSpPr>
            <p:cNvPr id="54" name="TextBox 32">
              <a:extLst>
                <a:ext uri="{FF2B5EF4-FFF2-40B4-BE49-F238E27FC236}">
                  <a16:creationId xmlns:a16="http://schemas.microsoft.com/office/drawing/2014/main" id="{8FF08AEA-52BC-4BFD-B091-754238F0CEA5}"/>
                </a:ext>
              </a:extLst>
            </p:cNvPr>
            <p:cNvSpPr txBox="1"/>
            <p:nvPr/>
          </p:nvSpPr>
          <p:spPr bwMode="gray">
            <a:xfrm>
              <a:off x="284911" y="1298795"/>
              <a:ext cx="382762" cy="430840"/>
            </a:xfrm>
            <a:prstGeom prst="rect">
              <a:avLst/>
            </a:prstGeom>
            <a:noFill/>
          </p:spPr>
          <p:txBody>
            <a:bodyPr wrap="square" lIns="0" tIns="0" rIns="0" bIns="0" rtlCol="0">
              <a:spAutoFit/>
            </a:bodyPr>
            <a:lstStyle/>
            <a:p>
              <a:pPr marL="0" marR="0" lvl="0" indent="0" algn="ctr" defTabSz="1232345" eaLnBrk="1" fontAlgn="auto" latinLnBrk="0" hangingPunct="1">
                <a:lnSpc>
                  <a:spcPct val="100000"/>
                </a:lnSpc>
                <a:spcBef>
                  <a:spcPts val="1600"/>
                </a:spcBef>
                <a:spcAft>
                  <a:spcPts val="0"/>
                </a:spcAft>
                <a:buClrTx/>
                <a:buSzTx/>
                <a:buFontTx/>
                <a:buNone/>
                <a:tabLst/>
                <a:defRPr/>
              </a:pPr>
              <a:r>
                <a:rPr kumimoji="0" lang="en-GB" sz="3733" b="1" i="0" u="none" strike="noStrike" kern="0" cap="none" spc="0" normalizeH="0" baseline="0" noProof="0" dirty="0">
                  <a:ln>
                    <a:noFill/>
                  </a:ln>
                  <a:solidFill>
                    <a:prstClr val="white"/>
                  </a:solidFill>
                  <a:effectLst/>
                  <a:uLnTx/>
                  <a:uFillTx/>
                  <a:latin typeface="Calibri"/>
                </a:rPr>
                <a:t>2</a:t>
              </a:r>
            </a:p>
          </p:txBody>
        </p:sp>
      </p:grpSp>
      <p:grpSp>
        <p:nvGrpSpPr>
          <p:cNvPr id="55" name="Group 33">
            <a:extLst>
              <a:ext uri="{FF2B5EF4-FFF2-40B4-BE49-F238E27FC236}">
                <a16:creationId xmlns:a16="http://schemas.microsoft.com/office/drawing/2014/main" id="{2D2A0719-1A2C-4289-9D76-2C58C785E0F9}"/>
              </a:ext>
            </a:extLst>
          </p:cNvPr>
          <p:cNvGrpSpPr/>
          <p:nvPr/>
        </p:nvGrpSpPr>
        <p:grpSpPr bwMode="gray">
          <a:xfrm>
            <a:off x="8178115" y="1731727"/>
            <a:ext cx="931445" cy="941333"/>
            <a:chOff x="281916" y="1298795"/>
            <a:chExt cx="698584" cy="706000"/>
          </a:xfrm>
        </p:grpSpPr>
        <p:sp>
          <p:nvSpPr>
            <p:cNvPr id="56" name="Right Triangle 34">
              <a:extLst>
                <a:ext uri="{FF2B5EF4-FFF2-40B4-BE49-F238E27FC236}">
                  <a16:creationId xmlns:a16="http://schemas.microsoft.com/office/drawing/2014/main" id="{CE4605E2-85BD-4D83-B659-FC7A6B9495A8}"/>
                </a:ext>
              </a:extLst>
            </p:cNvPr>
            <p:cNvSpPr/>
            <p:nvPr/>
          </p:nvSpPr>
          <p:spPr bwMode="gray">
            <a:xfrm rot="5400000">
              <a:off x="279482" y="1303778"/>
              <a:ext cx="703451" cy="698584"/>
            </a:xfrm>
            <a:prstGeom prst="rtTriangle">
              <a:avLst/>
            </a:prstGeom>
            <a:solidFill>
              <a:sysClr val="window" lastClr="FFFFFF">
                <a:alpha val="31000"/>
              </a:sysClr>
            </a:solidFill>
            <a:ln w="762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base" latinLnBrk="0" hangingPunct="1">
                <a:lnSpc>
                  <a:spcPct val="100000"/>
                </a:lnSpc>
                <a:spcBef>
                  <a:spcPct val="0"/>
                </a:spcBef>
                <a:spcAft>
                  <a:spcPts val="1600"/>
                </a:spcAft>
                <a:buClrTx/>
                <a:buSzTx/>
                <a:buFontTx/>
                <a:buNone/>
                <a:tabLst/>
                <a:defRPr/>
              </a:pPr>
              <a:endParaRPr kumimoji="0" lang="en-GB" sz="2133" b="0" i="0" u="none" strike="noStrike" kern="0" cap="none" spc="0" normalizeH="0" baseline="0" noProof="0" dirty="0">
                <a:ln>
                  <a:noFill/>
                </a:ln>
                <a:solidFill>
                  <a:prstClr val="white"/>
                </a:solidFill>
                <a:effectLst/>
                <a:uLnTx/>
                <a:uFillTx/>
              </a:endParaRPr>
            </a:p>
          </p:txBody>
        </p:sp>
        <p:sp>
          <p:nvSpPr>
            <p:cNvPr id="57" name="TextBox 35">
              <a:extLst>
                <a:ext uri="{FF2B5EF4-FFF2-40B4-BE49-F238E27FC236}">
                  <a16:creationId xmlns:a16="http://schemas.microsoft.com/office/drawing/2014/main" id="{F85E6408-6271-4B3F-84A1-3C3C72380E3E}"/>
                </a:ext>
              </a:extLst>
            </p:cNvPr>
            <p:cNvSpPr txBox="1"/>
            <p:nvPr/>
          </p:nvSpPr>
          <p:spPr bwMode="gray">
            <a:xfrm>
              <a:off x="284911" y="1298795"/>
              <a:ext cx="382762" cy="430840"/>
            </a:xfrm>
            <a:prstGeom prst="rect">
              <a:avLst/>
            </a:prstGeom>
            <a:noFill/>
          </p:spPr>
          <p:txBody>
            <a:bodyPr wrap="square" lIns="0" tIns="0" rIns="0" bIns="0" rtlCol="0">
              <a:spAutoFit/>
            </a:bodyPr>
            <a:lstStyle/>
            <a:p>
              <a:pPr marL="0" marR="0" lvl="0" indent="0" algn="ctr" defTabSz="1232345" eaLnBrk="1" fontAlgn="auto" latinLnBrk="0" hangingPunct="1">
                <a:lnSpc>
                  <a:spcPct val="100000"/>
                </a:lnSpc>
                <a:spcBef>
                  <a:spcPts val="1600"/>
                </a:spcBef>
                <a:spcAft>
                  <a:spcPts val="0"/>
                </a:spcAft>
                <a:buClrTx/>
                <a:buSzTx/>
                <a:buFontTx/>
                <a:buNone/>
                <a:tabLst/>
                <a:defRPr/>
              </a:pPr>
              <a:r>
                <a:rPr kumimoji="0" lang="en-GB" sz="3733" b="1" i="0" u="none" strike="noStrike" kern="0" cap="none" spc="0" normalizeH="0" baseline="0" noProof="0" dirty="0">
                  <a:ln>
                    <a:noFill/>
                  </a:ln>
                  <a:solidFill>
                    <a:prstClr val="white"/>
                  </a:solidFill>
                  <a:effectLst/>
                  <a:uLnTx/>
                  <a:uFillTx/>
                  <a:latin typeface="Calibri"/>
                </a:rPr>
                <a:t>3</a:t>
              </a:r>
            </a:p>
          </p:txBody>
        </p:sp>
      </p:grpSp>
      <p:grpSp>
        <p:nvGrpSpPr>
          <p:cNvPr id="58" name="Group 36">
            <a:extLst>
              <a:ext uri="{FF2B5EF4-FFF2-40B4-BE49-F238E27FC236}">
                <a16:creationId xmlns:a16="http://schemas.microsoft.com/office/drawing/2014/main" id="{E19583A7-45C5-4372-92AA-C8E00D8D511C}"/>
              </a:ext>
            </a:extLst>
          </p:cNvPr>
          <p:cNvGrpSpPr/>
          <p:nvPr/>
        </p:nvGrpSpPr>
        <p:grpSpPr bwMode="gray">
          <a:xfrm>
            <a:off x="8178115" y="3888083"/>
            <a:ext cx="931445" cy="941333"/>
            <a:chOff x="281916" y="1298795"/>
            <a:chExt cx="698584" cy="706000"/>
          </a:xfrm>
        </p:grpSpPr>
        <p:sp>
          <p:nvSpPr>
            <p:cNvPr id="59" name="Right Triangle 37">
              <a:extLst>
                <a:ext uri="{FF2B5EF4-FFF2-40B4-BE49-F238E27FC236}">
                  <a16:creationId xmlns:a16="http://schemas.microsoft.com/office/drawing/2014/main" id="{EE0085B3-1C62-49FD-98FE-97118154140B}"/>
                </a:ext>
              </a:extLst>
            </p:cNvPr>
            <p:cNvSpPr/>
            <p:nvPr/>
          </p:nvSpPr>
          <p:spPr bwMode="gray">
            <a:xfrm rot="5400000">
              <a:off x="279482" y="1303778"/>
              <a:ext cx="703451" cy="698584"/>
            </a:xfrm>
            <a:prstGeom prst="rtTriangle">
              <a:avLst/>
            </a:prstGeom>
            <a:solidFill>
              <a:sysClr val="window" lastClr="FFFFFF">
                <a:alpha val="31000"/>
              </a:sysClr>
            </a:solidFill>
            <a:ln w="762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base" latinLnBrk="0" hangingPunct="1">
                <a:lnSpc>
                  <a:spcPct val="100000"/>
                </a:lnSpc>
                <a:spcBef>
                  <a:spcPct val="0"/>
                </a:spcBef>
                <a:spcAft>
                  <a:spcPts val="1600"/>
                </a:spcAft>
                <a:buClrTx/>
                <a:buSzTx/>
                <a:buFontTx/>
                <a:buNone/>
                <a:tabLst/>
                <a:defRPr/>
              </a:pPr>
              <a:endParaRPr kumimoji="0" lang="en-GB" sz="2133" b="0" i="0" u="none" strike="noStrike" kern="0" cap="none" spc="0" normalizeH="0" baseline="0" noProof="0" dirty="0">
                <a:ln>
                  <a:noFill/>
                </a:ln>
                <a:solidFill>
                  <a:prstClr val="white"/>
                </a:solidFill>
                <a:effectLst/>
                <a:uLnTx/>
                <a:uFillTx/>
              </a:endParaRPr>
            </a:p>
          </p:txBody>
        </p:sp>
        <p:sp>
          <p:nvSpPr>
            <p:cNvPr id="60" name="TextBox 38">
              <a:extLst>
                <a:ext uri="{FF2B5EF4-FFF2-40B4-BE49-F238E27FC236}">
                  <a16:creationId xmlns:a16="http://schemas.microsoft.com/office/drawing/2014/main" id="{819A7995-959B-4B5F-AB0D-1C1CCE567BF5}"/>
                </a:ext>
              </a:extLst>
            </p:cNvPr>
            <p:cNvSpPr txBox="1"/>
            <p:nvPr/>
          </p:nvSpPr>
          <p:spPr bwMode="gray">
            <a:xfrm>
              <a:off x="284911" y="1298795"/>
              <a:ext cx="382762" cy="430840"/>
            </a:xfrm>
            <a:prstGeom prst="rect">
              <a:avLst/>
            </a:prstGeom>
            <a:noFill/>
          </p:spPr>
          <p:txBody>
            <a:bodyPr wrap="square" lIns="0" tIns="0" rIns="0" bIns="0" rtlCol="0">
              <a:spAutoFit/>
            </a:bodyPr>
            <a:lstStyle/>
            <a:p>
              <a:pPr marL="0" marR="0" lvl="0" indent="0" algn="ctr" defTabSz="1232345" eaLnBrk="1" fontAlgn="auto" latinLnBrk="0" hangingPunct="1">
                <a:lnSpc>
                  <a:spcPct val="100000"/>
                </a:lnSpc>
                <a:spcBef>
                  <a:spcPts val="1600"/>
                </a:spcBef>
                <a:spcAft>
                  <a:spcPts val="0"/>
                </a:spcAft>
                <a:buClrTx/>
                <a:buSzTx/>
                <a:buFontTx/>
                <a:buNone/>
                <a:tabLst/>
                <a:defRPr/>
              </a:pPr>
              <a:r>
                <a:rPr kumimoji="0" lang="en-GB" sz="3733" b="1" i="0" u="none" strike="noStrike" kern="0" cap="none" spc="0" normalizeH="0" baseline="0" noProof="0" dirty="0">
                  <a:ln>
                    <a:noFill/>
                  </a:ln>
                  <a:solidFill>
                    <a:prstClr val="white"/>
                  </a:solidFill>
                  <a:effectLst/>
                  <a:uLnTx/>
                  <a:uFillTx/>
                  <a:latin typeface="Calibri"/>
                </a:rPr>
                <a:t>6</a:t>
              </a:r>
            </a:p>
          </p:txBody>
        </p:sp>
      </p:grpSp>
      <p:grpSp>
        <p:nvGrpSpPr>
          <p:cNvPr id="61" name="Group 40">
            <a:extLst>
              <a:ext uri="{FF2B5EF4-FFF2-40B4-BE49-F238E27FC236}">
                <a16:creationId xmlns:a16="http://schemas.microsoft.com/office/drawing/2014/main" id="{784E21C3-136E-497D-967C-5AE37B2415ED}"/>
              </a:ext>
            </a:extLst>
          </p:cNvPr>
          <p:cNvGrpSpPr/>
          <p:nvPr/>
        </p:nvGrpSpPr>
        <p:grpSpPr bwMode="gray">
          <a:xfrm>
            <a:off x="4294791" y="3888083"/>
            <a:ext cx="931445" cy="941333"/>
            <a:chOff x="281916" y="1298795"/>
            <a:chExt cx="698584" cy="706000"/>
          </a:xfrm>
        </p:grpSpPr>
        <p:sp>
          <p:nvSpPr>
            <p:cNvPr id="62" name="Right Triangle 41">
              <a:extLst>
                <a:ext uri="{FF2B5EF4-FFF2-40B4-BE49-F238E27FC236}">
                  <a16:creationId xmlns:a16="http://schemas.microsoft.com/office/drawing/2014/main" id="{ECD0CC9A-E69D-47DB-917E-1DC4AD86025F}"/>
                </a:ext>
              </a:extLst>
            </p:cNvPr>
            <p:cNvSpPr/>
            <p:nvPr/>
          </p:nvSpPr>
          <p:spPr bwMode="gray">
            <a:xfrm rot="5400000">
              <a:off x="279482" y="1303778"/>
              <a:ext cx="703451" cy="698584"/>
            </a:xfrm>
            <a:prstGeom prst="rtTriangle">
              <a:avLst/>
            </a:prstGeom>
            <a:solidFill>
              <a:sysClr val="window" lastClr="FFFFFF">
                <a:alpha val="31000"/>
              </a:sysClr>
            </a:solidFill>
            <a:ln w="762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base" latinLnBrk="0" hangingPunct="1">
                <a:lnSpc>
                  <a:spcPct val="100000"/>
                </a:lnSpc>
                <a:spcBef>
                  <a:spcPct val="0"/>
                </a:spcBef>
                <a:spcAft>
                  <a:spcPts val="1600"/>
                </a:spcAft>
                <a:buClrTx/>
                <a:buSzTx/>
                <a:buFontTx/>
                <a:buNone/>
                <a:tabLst/>
                <a:defRPr/>
              </a:pPr>
              <a:endParaRPr kumimoji="0" lang="en-GB" sz="2133" b="0" i="0" u="none" strike="noStrike" kern="0" cap="none" spc="0" normalizeH="0" baseline="0" noProof="0" dirty="0">
                <a:ln>
                  <a:noFill/>
                </a:ln>
                <a:solidFill>
                  <a:prstClr val="white"/>
                </a:solidFill>
                <a:effectLst/>
                <a:uLnTx/>
                <a:uFillTx/>
              </a:endParaRPr>
            </a:p>
          </p:txBody>
        </p:sp>
        <p:sp>
          <p:nvSpPr>
            <p:cNvPr id="63" name="TextBox 42">
              <a:extLst>
                <a:ext uri="{FF2B5EF4-FFF2-40B4-BE49-F238E27FC236}">
                  <a16:creationId xmlns:a16="http://schemas.microsoft.com/office/drawing/2014/main" id="{47E42ADF-E9D3-4ED8-A25E-3A94851AB6CA}"/>
                </a:ext>
              </a:extLst>
            </p:cNvPr>
            <p:cNvSpPr txBox="1"/>
            <p:nvPr/>
          </p:nvSpPr>
          <p:spPr bwMode="gray">
            <a:xfrm>
              <a:off x="284911" y="1298795"/>
              <a:ext cx="382762" cy="430840"/>
            </a:xfrm>
            <a:prstGeom prst="rect">
              <a:avLst/>
            </a:prstGeom>
            <a:noFill/>
          </p:spPr>
          <p:txBody>
            <a:bodyPr wrap="square" lIns="0" tIns="0" rIns="0" bIns="0" rtlCol="0">
              <a:spAutoFit/>
            </a:bodyPr>
            <a:lstStyle/>
            <a:p>
              <a:pPr marL="0" marR="0" lvl="0" indent="0" algn="ctr" defTabSz="1232345" eaLnBrk="1" fontAlgn="auto" latinLnBrk="0" hangingPunct="1">
                <a:lnSpc>
                  <a:spcPct val="100000"/>
                </a:lnSpc>
                <a:spcBef>
                  <a:spcPts val="1600"/>
                </a:spcBef>
                <a:spcAft>
                  <a:spcPts val="0"/>
                </a:spcAft>
                <a:buClrTx/>
                <a:buSzTx/>
                <a:buFontTx/>
                <a:buNone/>
                <a:tabLst/>
                <a:defRPr/>
              </a:pPr>
              <a:r>
                <a:rPr kumimoji="0" lang="en-GB" sz="3733" b="1" i="0" u="none" strike="noStrike" kern="0" cap="none" spc="0" normalizeH="0" baseline="0" noProof="0" dirty="0">
                  <a:ln>
                    <a:noFill/>
                  </a:ln>
                  <a:solidFill>
                    <a:prstClr val="white"/>
                  </a:solidFill>
                  <a:effectLst/>
                  <a:uLnTx/>
                  <a:uFillTx/>
                  <a:latin typeface="Calibri"/>
                </a:rPr>
                <a:t>5</a:t>
              </a:r>
            </a:p>
          </p:txBody>
        </p:sp>
      </p:grpSp>
      <p:grpSp>
        <p:nvGrpSpPr>
          <p:cNvPr id="64" name="Group 44">
            <a:extLst>
              <a:ext uri="{FF2B5EF4-FFF2-40B4-BE49-F238E27FC236}">
                <a16:creationId xmlns:a16="http://schemas.microsoft.com/office/drawing/2014/main" id="{EA3D1C3F-B9C3-4E19-847A-8A67751E3350}"/>
              </a:ext>
            </a:extLst>
          </p:cNvPr>
          <p:cNvGrpSpPr/>
          <p:nvPr/>
        </p:nvGrpSpPr>
        <p:grpSpPr bwMode="gray">
          <a:xfrm>
            <a:off x="375887" y="3888083"/>
            <a:ext cx="931445" cy="941333"/>
            <a:chOff x="281916" y="1298795"/>
            <a:chExt cx="698584" cy="706000"/>
          </a:xfrm>
        </p:grpSpPr>
        <p:sp>
          <p:nvSpPr>
            <p:cNvPr id="65" name="Right Triangle 45">
              <a:extLst>
                <a:ext uri="{FF2B5EF4-FFF2-40B4-BE49-F238E27FC236}">
                  <a16:creationId xmlns:a16="http://schemas.microsoft.com/office/drawing/2014/main" id="{3299BE35-9007-420C-9C5F-41487DEE7979}"/>
                </a:ext>
              </a:extLst>
            </p:cNvPr>
            <p:cNvSpPr/>
            <p:nvPr/>
          </p:nvSpPr>
          <p:spPr bwMode="gray">
            <a:xfrm rot="5400000">
              <a:off x="279482" y="1303778"/>
              <a:ext cx="703451" cy="698584"/>
            </a:xfrm>
            <a:prstGeom prst="rtTriangle">
              <a:avLst/>
            </a:prstGeom>
            <a:solidFill>
              <a:sysClr val="window" lastClr="FFFFFF">
                <a:alpha val="31000"/>
              </a:sysClr>
            </a:solidFill>
            <a:ln w="76200" cap="flat" cmpd="sng" algn="ctr">
              <a:noFill/>
              <a:prstDash val="solid"/>
              <a:roun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1219170" eaLnBrk="1" fontAlgn="base" latinLnBrk="0" hangingPunct="1">
                <a:lnSpc>
                  <a:spcPct val="100000"/>
                </a:lnSpc>
                <a:spcBef>
                  <a:spcPct val="0"/>
                </a:spcBef>
                <a:spcAft>
                  <a:spcPts val="1600"/>
                </a:spcAft>
                <a:buClrTx/>
                <a:buSzTx/>
                <a:buFontTx/>
                <a:buNone/>
                <a:tabLst/>
                <a:defRPr/>
              </a:pPr>
              <a:endParaRPr kumimoji="0" lang="en-GB" sz="2133" b="0" i="0" u="none" strike="noStrike" kern="0" cap="none" spc="0" normalizeH="0" baseline="0" noProof="0" dirty="0">
                <a:ln>
                  <a:noFill/>
                </a:ln>
                <a:solidFill>
                  <a:prstClr val="white"/>
                </a:solidFill>
                <a:effectLst/>
                <a:uLnTx/>
                <a:uFillTx/>
              </a:endParaRPr>
            </a:p>
          </p:txBody>
        </p:sp>
        <p:sp>
          <p:nvSpPr>
            <p:cNvPr id="66" name="TextBox 46">
              <a:extLst>
                <a:ext uri="{FF2B5EF4-FFF2-40B4-BE49-F238E27FC236}">
                  <a16:creationId xmlns:a16="http://schemas.microsoft.com/office/drawing/2014/main" id="{395E9610-8894-47C3-A473-97FAAAA6C4E1}"/>
                </a:ext>
              </a:extLst>
            </p:cNvPr>
            <p:cNvSpPr txBox="1"/>
            <p:nvPr/>
          </p:nvSpPr>
          <p:spPr bwMode="gray">
            <a:xfrm>
              <a:off x="284911" y="1298795"/>
              <a:ext cx="382762" cy="430840"/>
            </a:xfrm>
            <a:prstGeom prst="rect">
              <a:avLst/>
            </a:prstGeom>
            <a:noFill/>
          </p:spPr>
          <p:txBody>
            <a:bodyPr wrap="square" lIns="0" tIns="0" rIns="0" bIns="0" rtlCol="0">
              <a:spAutoFit/>
            </a:bodyPr>
            <a:lstStyle/>
            <a:p>
              <a:pPr marL="0" marR="0" lvl="0" indent="0" algn="ctr" defTabSz="1232345" eaLnBrk="1" fontAlgn="auto" latinLnBrk="0" hangingPunct="1">
                <a:lnSpc>
                  <a:spcPct val="100000"/>
                </a:lnSpc>
                <a:spcBef>
                  <a:spcPts val="1600"/>
                </a:spcBef>
                <a:spcAft>
                  <a:spcPts val="0"/>
                </a:spcAft>
                <a:buClrTx/>
                <a:buSzTx/>
                <a:buFontTx/>
                <a:buNone/>
                <a:tabLst/>
                <a:defRPr/>
              </a:pPr>
              <a:r>
                <a:rPr kumimoji="0" lang="en-GB" sz="3733" b="1" i="0" u="none" strike="noStrike" kern="0" cap="none" spc="0" normalizeH="0" baseline="0" noProof="0" dirty="0">
                  <a:ln>
                    <a:noFill/>
                  </a:ln>
                  <a:solidFill>
                    <a:prstClr val="white"/>
                  </a:solidFill>
                  <a:effectLst/>
                  <a:uLnTx/>
                  <a:uFillTx/>
                  <a:latin typeface="Calibri"/>
                </a:rPr>
                <a:t>4</a:t>
              </a:r>
            </a:p>
          </p:txBody>
        </p:sp>
      </p:grpSp>
      <p:sp>
        <p:nvSpPr>
          <p:cNvPr id="67" name="TextBox 47">
            <a:extLst>
              <a:ext uri="{FF2B5EF4-FFF2-40B4-BE49-F238E27FC236}">
                <a16:creationId xmlns:a16="http://schemas.microsoft.com/office/drawing/2014/main" id="{C19AD2F7-6AC3-4E74-AFF0-3589B4723D33}"/>
              </a:ext>
            </a:extLst>
          </p:cNvPr>
          <p:cNvSpPr txBox="1"/>
          <p:nvPr/>
        </p:nvSpPr>
        <p:spPr bwMode="gray">
          <a:xfrm>
            <a:off x="4756517" y="2287094"/>
            <a:ext cx="3123968" cy="492443"/>
          </a:xfrm>
          <a:prstGeom prst="rect">
            <a:avLst/>
          </a:prstGeom>
          <a:noFill/>
        </p:spPr>
        <p:txBody>
          <a:bodyPr wrap="square" lIns="0" tIns="0" rIns="0" bIns="0" rtlCol="0">
            <a:spAutoFit/>
          </a:bodyPr>
          <a:lstStyle/>
          <a:p>
            <a:pPr defTabSz="1232345">
              <a:spcBef>
                <a:spcPts val="1600"/>
              </a:spcBef>
            </a:pPr>
            <a:r>
              <a:rPr lang="en-GB" sz="3200" b="1" dirty="0">
                <a:solidFill>
                  <a:prstClr val="white"/>
                </a:solidFill>
                <a:latin typeface="Calibri"/>
              </a:rPr>
              <a:t>Sammendrag</a:t>
            </a:r>
          </a:p>
        </p:txBody>
      </p:sp>
      <p:sp>
        <p:nvSpPr>
          <p:cNvPr id="68" name="TextBox 49">
            <a:extLst>
              <a:ext uri="{FF2B5EF4-FFF2-40B4-BE49-F238E27FC236}">
                <a16:creationId xmlns:a16="http://schemas.microsoft.com/office/drawing/2014/main" id="{FF52F775-064E-492A-A012-6CF26FD0E9FF}"/>
              </a:ext>
            </a:extLst>
          </p:cNvPr>
          <p:cNvSpPr txBox="1"/>
          <p:nvPr/>
        </p:nvSpPr>
        <p:spPr bwMode="gray">
          <a:xfrm>
            <a:off x="4756517" y="4372909"/>
            <a:ext cx="3076099" cy="492443"/>
          </a:xfrm>
          <a:prstGeom prst="rect">
            <a:avLst/>
          </a:prstGeom>
          <a:noFill/>
        </p:spPr>
        <p:txBody>
          <a:bodyPr wrap="square" lIns="0" tIns="0" rIns="0" bIns="0" rtlCol="0">
            <a:spAutoFit/>
          </a:bodyPr>
          <a:lstStyle/>
          <a:p>
            <a:pPr defTabSz="1232345">
              <a:spcBef>
                <a:spcPts val="1600"/>
              </a:spcBef>
            </a:pPr>
            <a:r>
              <a:rPr lang="en-GB" sz="3200" b="1" dirty="0">
                <a:solidFill>
                  <a:prstClr val="white"/>
                </a:solidFill>
                <a:latin typeface="Calibri"/>
              </a:rPr>
              <a:t>Påvirkning</a:t>
            </a:r>
          </a:p>
        </p:txBody>
      </p:sp>
      <p:sp>
        <p:nvSpPr>
          <p:cNvPr id="69" name="TextBox 50">
            <a:extLst>
              <a:ext uri="{FF2B5EF4-FFF2-40B4-BE49-F238E27FC236}">
                <a16:creationId xmlns:a16="http://schemas.microsoft.com/office/drawing/2014/main" id="{FE4283F9-19C8-4BDD-B46C-89B19B64C088}"/>
              </a:ext>
            </a:extLst>
          </p:cNvPr>
          <p:cNvSpPr txBox="1"/>
          <p:nvPr/>
        </p:nvSpPr>
        <p:spPr bwMode="gray">
          <a:xfrm>
            <a:off x="8624085" y="2287094"/>
            <a:ext cx="3076099" cy="492443"/>
          </a:xfrm>
          <a:prstGeom prst="rect">
            <a:avLst/>
          </a:prstGeom>
          <a:noFill/>
        </p:spPr>
        <p:txBody>
          <a:bodyPr wrap="square" lIns="0" tIns="0" rIns="0" bIns="0" rtlCol="0">
            <a:spAutoFit/>
          </a:bodyPr>
          <a:lstStyle/>
          <a:p>
            <a:pPr defTabSz="1232345">
              <a:spcBef>
                <a:spcPts val="1600"/>
              </a:spcBef>
            </a:pPr>
            <a:r>
              <a:rPr lang="en-GB" sz="3200" b="1" dirty="0">
                <a:solidFill>
                  <a:prstClr val="white"/>
                </a:solidFill>
                <a:latin typeface="Calibri"/>
              </a:rPr>
              <a:t>Lydnivå og støy</a:t>
            </a:r>
          </a:p>
        </p:txBody>
      </p:sp>
      <p:sp>
        <p:nvSpPr>
          <p:cNvPr id="70" name="TextBox 51">
            <a:extLst>
              <a:ext uri="{FF2B5EF4-FFF2-40B4-BE49-F238E27FC236}">
                <a16:creationId xmlns:a16="http://schemas.microsoft.com/office/drawing/2014/main" id="{2A3C7504-CAEC-4F4B-8EFC-D851B328A2CF}"/>
              </a:ext>
            </a:extLst>
          </p:cNvPr>
          <p:cNvSpPr txBox="1"/>
          <p:nvPr/>
        </p:nvSpPr>
        <p:spPr bwMode="gray">
          <a:xfrm>
            <a:off x="8600151" y="4417114"/>
            <a:ext cx="3123968" cy="492443"/>
          </a:xfrm>
          <a:prstGeom prst="rect">
            <a:avLst/>
          </a:prstGeom>
          <a:noFill/>
        </p:spPr>
        <p:txBody>
          <a:bodyPr wrap="square" lIns="0" tIns="0" rIns="0" bIns="0" rtlCol="0">
            <a:spAutoFit/>
          </a:bodyPr>
          <a:lstStyle/>
          <a:p>
            <a:pPr defTabSz="1232345">
              <a:spcBef>
                <a:spcPts val="1600"/>
              </a:spcBef>
            </a:pPr>
            <a:r>
              <a:rPr lang="en-GB" sz="3200" b="1" dirty="0">
                <a:solidFill>
                  <a:prstClr val="white"/>
                </a:solidFill>
                <a:latin typeface="Calibri"/>
              </a:rPr>
              <a:t>Om utvalget</a:t>
            </a:r>
          </a:p>
        </p:txBody>
      </p:sp>
      <p:sp>
        <p:nvSpPr>
          <p:cNvPr id="33" name="Titre 4">
            <a:extLst>
              <a:ext uri="{FF2B5EF4-FFF2-40B4-BE49-F238E27FC236}">
                <a16:creationId xmlns:a16="http://schemas.microsoft.com/office/drawing/2014/main" id="{8F1B9993-4745-4AB2-B399-7A86BF00806B}"/>
              </a:ext>
            </a:extLst>
          </p:cNvPr>
          <p:cNvSpPr>
            <a:spLocks noGrp="1"/>
          </p:cNvSpPr>
          <p:nvPr>
            <p:ph type="title"/>
          </p:nvPr>
        </p:nvSpPr>
        <p:spPr>
          <a:xfrm>
            <a:off x="404786" y="382816"/>
            <a:ext cx="11382428" cy="480131"/>
          </a:xfrm>
        </p:spPr>
        <p:txBody>
          <a:bodyPr/>
          <a:lstStyle/>
          <a:p>
            <a:r>
              <a:rPr lang="nb-NO" dirty="0">
                <a:solidFill>
                  <a:schemeClr val="bg1"/>
                </a:solidFill>
              </a:rPr>
              <a:t>innhold</a:t>
            </a:r>
          </a:p>
        </p:txBody>
      </p:sp>
    </p:spTree>
    <p:extLst>
      <p:ext uri="{BB962C8B-B14F-4D97-AF65-F5344CB8AC3E}">
        <p14:creationId xmlns:p14="http://schemas.microsoft.com/office/powerpoint/2010/main" val="52571578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01F91D-D95C-4F14-915E-6CD417F02A5C}"/>
              </a:ext>
            </a:extLst>
          </p:cNvPr>
          <p:cNvSpPr>
            <a:spLocks noGrp="1"/>
          </p:cNvSpPr>
          <p:nvPr>
            <p:ph type="title"/>
          </p:nvPr>
        </p:nvSpPr>
        <p:spPr>
          <a:xfrm>
            <a:off x="459207" y="546021"/>
            <a:ext cx="7551996" cy="849015"/>
          </a:xfrm>
        </p:spPr>
        <p:txBody>
          <a:bodyPr/>
          <a:lstStyle/>
          <a:p>
            <a:r>
              <a:rPr lang="nb-NO" dirty="0"/>
              <a:t>PÅVIRKNING</a:t>
            </a:r>
          </a:p>
        </p:txBody>
      </p:sp>
      <p:sp>
        <p:nvSpPr>
          <p:cNvPr id="5" name="Slide Number Placeholder 4">
            <a:extLst>
              <a:ext uri="{FF2B5EF4-FFF2-40B4-BE49-F238E27FC236}">
                <a16:creationId xmlns:a16="http://schemas.microsoft.com/office/drawing/2014/main" id="{2C147CCE-758A-4B3E-8B01-ABF1F188504C}"/>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r>
              <a:rPr kumimoji="0" lang="en-GB" sz="900" b="1" i="0" u="none" strike="noStrike" kern="1200" cap="none" spc="0" normalizeH="0" baseline="0" noProof="0" dirty="0">
                <a:ln>
                  <a:noFill/>
                </a:ln>
                <a:solidFill>
                  <a:prstClr val="white"/>
                </a:solidFill>
                <a:effectLst/>
                <a:uLnTx/>
                <a:uFillTx/>
                <a:latin typeface="Arial Black"/>
                <a:ea typeface="+mn-ea"/>
                <a:cs typeface="+mn-cs"/>
              </a:rPr>
              <a:t> ‒ </a:t>
            </a:r>
          </a:p>
        </p:txBody>
      </p:sp>
    </p:spTree>
    <p:extLst>
      <p:ext uri="{BB962C8B-B14F-4D97-AF65-F5344CB8AC3E}">
        <p14:creationId xmlns:p14="http://schemas.microsoft.com/office/powerpoint/2010/main" val="44658775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5E77C17-D01F-441E-89B1-B2905769C0F2}"/>
              </a:ext>
            </a:extLst>
          </p:cNvPr>
          <p:cNvSpPr>
            <a:spLocks noGrp="1"/>
          </p:cNvSpPr>
          <p:nvPr>
            <p:ph type="body" sz="quarter" idx="15"/>
          </p:nvPr>
        </p:nvSpPr>
        <p:spPr>
          <a:xfrm>
            <a:off x="551384" y="2204864"/>
            <a:ext cx="10225136" cy="394593"/>
          </a:xfrm>
        </p:spPr>
        <p:txBody>
          <a:bodyPr/>
          <a:lstStyle/>
          <a:p>
            <a:r>
              <a:rPr lang="nb-NO" sz="1600" i="1" dirty="0">
                <a:solidFill>
                  <a:schemeClr val="tx1"/>
                </a:solidFill>
                <a:cs typeface="Times New Roman" panose="02020603050405020304" pitchFamily="18" charset="0"/>
              </a:rPr>
              <a:t>I hvilken grad opplever du at beredskapssenteret har gitt positive ringvirkninger i lokalsamfunnet? </a:t>
            </a:r>
          </a:p>
        </p:txBody>
      </p:sp>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21</a:t>
            </a:fld>
            <a:r>
              <a:rPr lang="nb-NO" noProof="0" dirty="0"/>
              <a:t> ‒ </a:t>
            </a:r>
          </a:p>
        </p:txBody>
      </p:sp>
      <p:sp>
        <p:nvSpPr>
          <p:cNvPr id="7" name="Title 6">
            <a:extLst>
              <a:ext uri="{FF2B5EF4-FFF2-40B4-BE49-F238E27FC236}">
                <a16:creationId xmlns:a16="http://schemas.microsoft.com/office/drawing/2014/main" id="{AFAB9416-0A9F-47EF-B35A-71A6C2DFFEB4}"/>
              </a:ext>
            </a:extLst>
          </p:cNvPr>
          <p:cNvSpPr>
            <a:spLocks noGrp="1"/>
          </p:cNvSpPr>
          <p:nvPr>
            <p:ph type="title"/>
          </p:nvPr>
        </p:nvSpPr>
        <p:spPr>
          <a:xfrm>
            <a:off x="404786" y="382816"/>
            <a:ext cx="11382428" cy="313932"/>
          </a:xfrm>
        </p:spPr>
        <p:txBody>
          <a:bodyPr/>
          <a:lstStyle/>
          <a:p>
            <a:r>
              <a:rPr lang="nb-NO" sz="1600" dirty="0">
                <a:solidFill>
                  <a:schemeClr val="bg1">
                    <a:lumMod val="75000"/>
                  </a:schemeClr>
                </a:solidFill>
              </a:rPr>
              <a:t>PÅVIRKNING</a:t>
            </a:r>
          </a:p>
        </p:txBody>
      </p:sp>
      <p:sp>
        <p:nvSpPr>
          <p:cNvPr id="32" name="Rektangel 31">
            <a:extLst>
              <a:ext uri="{FF2B5EF4-FFF2-40B4-BE49-F238E27FC236}">
                <a16:creationId xmlns:a16="http://schemas.microsoft.com/office/drawing/2014/main" id="{257B8BC0-02CA-4184-B52E-27DD4715F895}"/>
              </a:ext>
            </a:extLst>
          </p:cNvPr>
          <p:cNvSpPr/>
          <p:nvPr/>
        </p:nvSpPr>
        <p:spPr>
          <a:xfrm>
            <a:off x="382932" y="4725144"/>
            <a:ext cx="11463417" cy="108012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nb-NO" sz="1100" dirty="0">
                <a:solidFill>
                  <a:schemeClr val="tx1"/>
                </a:solidFill>
              </a:rPr>
              <a:t>Flertallet (61 %) mener at beredskapssenteret i «liten» eller «ingen grad» har gitt positive ringvirkninger til lokalsamfunnet, mens 23 % mener det i «noen» eller «høy grad» har gjort dette. </a:t>
            </a:r>
          </a:p>
          <a:p>
            <a:pPr algn="just"/>
            <a:endParaRPr lang="nb-NO" sz="1100" dirty="0">
              <a:solidFill>
                <a:schemeClr val="tx1"/>
              </a:solidFill>
            </a:endParaRPr>
          </a:p>
          <a:p>
            <a:pPr algn="just"/>
            <a:r>
              <a:rPr lang="nb-NO" sz="1100" dirty="0">
                <a:solidFill>
                  <a:schemeClr val="tx1"/>
                </a:solidFill>
              </a:rPr>
              <a:t>Det er en høyere andel blant de som er bosatt i Bjørndal som svarer i «ingen grad» på spørsmålet (54 %), sammenlignet med gjennomsnittet av de spurte. Det er også en høyere andel av de som er omtrent like mye hjemme som andre steder i løpet av en vanlig arbeidsuke som svarer i «ingen grad» på dette spørsmålet (53 %). </a:t>
            </a:r>
          </a:p>
        </p:txBody>
      </p:sp>
      <p:sp>
        <p:nvSpPr>
          <p:cNvPr id="33" name="Text Placeholder 9">
            <a:extLst>
              <a:ext uri="{FF2B5EF4-FFF2-40B4-BE49-F238E27FC236}">
                <a16:creationId xmlns:a16="http://schemas.microsoft.com/office/drawing/2014/main" id="{D420561F-5F12-43CE-817A-4ED2F413046B}"/>
              </a:ext>
            </a:extLst>
          </p:cNvPr>
          <p:cNvSpPr txBox="1">
            <a:spLocks/>
          </p:cNvSpPr>
          <p:nvPr/>
        </p:nvSpPr>
        <p:spPr>
          <a:xfrm>
            <a:off x="393223" y="6066933"/>
            <a:ext cx="11463417" cy="215444"/>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 typeface="Arial" panose="020B0604020202020204" pitchFamily="34" charset="0"/>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dirty="0"/>
              <a:t>Base: Alle, n=602</a:t>
            </a:r>
          </a:p>
        </p:txBody>
      </p:sp>
      <p:graphicFrame>
        <p:nvGraphicFramePr>
          <p:cNvPr id="34" name="Chart 4">
            <a:extLst>
              <a:ext uri="{FF2B5EF4-FFF2-40B4-BE49-F238E27FC236}">
                <a16:creationId xmlns:a16="http://schemas.microsoft.com/office/drawing/2014/main" id="{C8BE559C-FAC2-44D8-8937-C6775C0C8387}"/>
              </a:ext>
            </a:extLst>
          </p:cNvPr>
          <p:cNvGraphicFramePr/>
          <p:nvPr>
            <p:extLst>
              <p:ext uri="{D42A27DB-BD31-4B8C-83A1-F6EECF244321}">
                <p14:modId xmlns:p14="http://schemas.microsoft.com/office/powerpoint/2010/main" val="2692446856"/>
              </p:ext>
            </p:extLst>
          </p:nvPr>
        </p:nvGraphicFramePr>
        <p:xfrm>
          <a:off x="0" y="2348880"/>
          <a:ext cx="12000656" cy="2751840"/>
        </p:xfrm>
        <a:graphic>
          <a:graphicData uri="http://schemas.openxmlformats.org/drawingml/2006/chart">
            <c:chart xmlns:c="http://schemas.openxmlformats.org/drawingml/2006/chart" xmlns:r="http://schemas.openxmlformats.org/officeDocument/2006/relationships" r:id="rId2"/>
          </a:graphicData>
        </a:graphic>
      </p:graphicFrame>
      <p:sp>
        <p:nvSpPr>
          <p:cNvPr id="8" name="TekstSylinder 7">
            <a:extLst>
              <a:ext uri="{FF2B5EF4-FFF2-40B4-BE49-F238E27FC236}">
                <a16:creationId xmlns:a16="http://schemas.microsoft.com/office/drawing/2014/main" id="{1CF16858-0F57-4497-B3C6-040A409C1BAC}"/>
              </a:ext>
            </a:extLst>
          </p:cNvPr>
          <p:cNvSpPr txBox="1"/>
          <p:nvPr/>
        </p:nvSpPr>
        <p:spPr>
          <a:xfrm>
            <a:off x="407368" y="674693"/>
            <a:ext cx="11521280" cy="954107"/>
          </a:xfrm>
          <a:prstGeom prst="rect">
            <a:avLst/>
          </a:prstGeom>
          <a:noFill/>
        </p:spPr>
        <p:txBody>
          <a:bodyPr wrap="square" rtlCol="0">
            <a:spAutoFit/>
          </a:bodyPr>
          <a:lstStyle/>
          <a:p>
            <a:r>
              <a:rPr lang="en-GB" sz="2800" dirty="0">
                <a:latin typeface="+mj-lt"/>
              </a:rPr>
              <a:t>Flertallet opplever i </a:t>
            </a:r>
            <a:r>
              <a:rPr lang="nb-NO" sz="2800" b="1" dirty="0">
                <a:solidFill>
                  <a:schemeClr val="tx1"/>
                </a:solidFill>
                <a:cs typeface="Calibri" panose="020F0502020204030204" pitchFamily="34" charset="0"/>
              </a:rPr>
              <a:t>«</a:t>
            </a:r>
            <a:r>
              <a:rPr lang="en-GB" sz="2800" dirty="0">
                <a:latin typeface="+mj-lt"/>
              </a:rPr>
              <a:t>liten</a:t>
            </a:r>
            <a:r>
              <a:rPr lang="nb-NO" sz="2800" b="1" dirty="0">
                <a:solidFill>
                  <a:schemeClr val="tx1"/>
                </a:solidFill>
                <a:cs typeface="Calibri" panose="020F0502020204030204" pitchFamily="34" charset="0"/>
              </a:rPr>
              <a:t>»</a:t>
            </a:r>
            <a:r>
              <a:rPr lang="en-GB" sz="2800" dirty="0">
                <a:latin typeface="+mj-lt"/>
              </a:rPr>
              <a:t> eller </a:t>
            </a:r>
            <a:r>
              <a:rPr lang="nb-NO" sz="2800" b="1" dirty="0">
                <a:solidFill>
                  <a:schemeClr val="tx1"/>
                </a:solidFill>
                <a:cs typeface="Calibri" panose="020F0502020204030204" pitchFamily="34" charset="0"/>
              </a:rPr>
              <a:t>«</a:t>
            </a:r>
            <a:r>
              <a:rPr lang="en-GB" sz="2800" dirty="0">
                <a:latin typeface="+mj-lt"/>
              </a:rPr>
              <a:t>ingen grad</a:t>
            </a:r>
            <a:r>
              <a:rPr lang="nb-NO" sz="2800" b="1" dirty="0">
                <a:solidFill>
                  <a:schemeClr val="tx1"/>
                </a:solidFill>
                <a:cs typeface="Calibri" panose="020F0502020204030204" pitchFamily="34" charset="0"/>
              </a:rPr>
              <a:t>»</a:t>
            </a:r>
            <a:r>
              <a:rPr lang="en-GB" sz="2800" dirty="0">
                <a:latin typeface="+mj-lt"/>
              </a:rPr>
              <a:t> at senteret har gitt positive ringvirkninger i lokalsamfunnet</a:t>
            </a:r>
          </a:p>
        </p:txBody>
      </p:sp>
    </p:spTree>
    <p:extLst>
      <p:ext uri="{BB962C8B-B14F-4D97-AF65-F5344CB8AC3E}">
        <p14:creationId xmlns:p14="http://schemas.microsoft.com/office/powerpoint/2010/main" val="19350077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5E77C17-D01F-441E-89B1-B2905769C0F2}"/>
              </a:ext>
            </a:extLst>
          </p:cNvPr>
          <p:cNvSpPr>
            <a:spLocks noGrp="1"/>
          </p:cNvSpPr>
          <p:nvPr>
            <p:ph type="body" sz="quarter" idx="15"/>
          </p:nvPr>
        </p:nvSpPr>
        <p:spPr>
          <a:xfrm>
            <a:off x="407368" y="1916832"/>
            <a:ext cx="8067478" cy="292388"/>
          </a:xfrm>
        </p:spPr>
        <p:txBody>
          <a:bodyPr/>
          <a:lstStyle/>
          <a:p>
            <a:r>
              <a:rPr lang="nb-NO" sz="1600" i="1" dirty="0">
                <a:solidFill>
                  <a:schemeClr val="tx1"/>
                </a:solidFill>
                <a:cs typeface="Times New Roman" panose="02020603050405020304" pitchFamily="18" charset="0"/>
              </a:rPr>
              <a:t>Hvilke positive ringvirkninger er dette?</a:t>
            </a:r>
          </a:p>
        </p:txBody>
      </p:sp>
      <p:sp>
        <p:nvSpPr>
          <p:cNvPr id="10" name="Text Placeholder 9">
            <a:extLst>
              <a:ext uri="{FF2B5EF4-FFF2-40B4-BE49-F238E27FC236}">
                <a16:creationId xmlns:a16="http://schemas.microsoft.com/office/drawing/2014/main" id="{0FA4725A-4AFC-434D-A12C-419DC40F021F}"/>
              </a:ext>
            </a:extLst>
          </p:cNvPr>
          <p:cNvSpPr>
            <a:spLocks noGrp="1"/>
          </p:cNvSpPr>
          <p:nvPr>
            <p:ph type="body" sz="quarter" idx="17"/>
          </p:nvPr>
        </p:nvSpPr>
        <p:spPr>
          <a:xfrm>
            <a:off x="404786" y="6021868"/>
            <a:ext cx="11463417" cy="215444"/>
          </a:xfrm>
        </p:spPr>
        <p:txBody>
          <a:bodyPr/>
          <a:lstStyle/>
          <a:p>
            <a:r>
              <a:rPr lang="nb-NO" dirty="0"/>
              <a:t>Base: De som mener beredskapssenteret i «høy» eller «noen grad» har gitt positive ringvirkninger i lokalsamfunnet, n=135</a:t>
            </a:r>
          </a:p>
        </p:txBody>
      </p:sp>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22</a:t>
            </a:fld>
            <a:r>
              <a:rPr lang="nb-NO" noProof="0" dirty="0"/>
              <a:t> ‒ </a:t>
            </a:r>
          </a:p>
        </p:txBody>
      </p:sp>
      <p:sp>
        <p:nvSpPr>
          <p:cNvPr id="7" name="Title 6">
            <a:extLst>
              <a:ext uri="{FF2B5EF4-FFF2-40B4-BE49-F238E27FC236}">
                <a16:creationId xmlns:a16="http://schemas.microsoft.com/office/drawing/2014/main" id="{AFAB9416-0A9F-47EF-B35A-71A6C2DFFEB4}"/>
              </a:ext>
            </a:extLst>
          </p:cNvPr>
          <p:cNvSpPr>
            <a:spLocks noGrp="1"/>
          </p:cNvSpPr>
          <p:nvPr>
            <p:ph type="title"/>
          </p:nvPr>
        </p:nvSpPr>
        <p:spPr>
          <a:xfrm>
            <a:off x="404786" y="382816"/>
            <a:ext cx="11382428" cy="313932"/>
          </a:xfrm>
        </p:spPr>
        <p:txBody>
          <a:bodyPr/>
          <a:lstStyle/>
          <a:p>
            <a:r>
              <a:rPr lang="nb-NO" sz="1600" dirty="0">
                <a:solidFill>
                  <a:schemeClr val="bg1">
                    <a:lumMod val="75000"/>
                  </a:schemeClr>
                </a:solidFill>
              </a:rPr>
              <a:t>PÅVIRKNING</a:t>
            </a:r>
          </a:p>
        </p:txBody>
      </p:sp>
      <p:graphicFrame>
        <p:nvGraphicFramePr>
          <p:cNvPr id="11" name="Chart 4">
            <a:extLst>
              <a:ext uri="{FF2B5EF4-FFF2-40B4-BE49-F238E27FC236}">
                <a16:creationId xmlns:a16="http://schemas.microsoft.com/office/drawing/2014/main" id="{58E1E239-2F5C-4CDE-BC86-4A0B78D94E71}"/>
              </a:ext>
            </a:extLst>
          </p:cNvPr>
          <p:cNvGraphicFramePr/>
          <p:nvPr>
            <p:extLst>
              <p:ext uri="{D42A27DB-BD31-4B8C-83A1-F6EECF244321}">
                <p14:modId xmlns:p14="http://schemas.microsoft.com/office/powerpoint/2010/main" val="3975200995"/>
              </p:ext>
            </p:extLst>
          </p:nvPr>
        </p:nvGraphicFramePr>
        <p:xfrm>
          <a:off x="47328" y="2138108"/>
          <a:ext cx="8067478" cy="3523140"/>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5">
            <a:extLst>
              <a:ext uri="{FF2B5EF4-FFF2-40B4-BE49-F238E27FC236}">
                <a16:creationId xmlns:a16="http://schemas.microsoft.com/office/drawing/2014/main" id="{DFF33D79-5A80-4537-BF61-CAFEFACA5432}"/>
              </a:ext>
            </a:extLst>
          </p:cNvPr>
          <p:cNvSpPr/>
          <p:nvPr/>
        </p:nvSpPr>
        <p:spPr>
          <a:xfrm>
            <a:off x="8184232" y="2780928"/>
            <a:ext cx="3312368" cy="16561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dirty="0">
                <a:solidFill>
                  <a:schemeClr val="tx1"/>
                </a:solidFill>
              </a:rPr>
              <a:t>Blant de som mener at beredskapssenteret har gitt positive ringvirkninger i lokalsamfunnet svarer over halvparten (55 %) at det har gitt høyere beredskap i nærområdet, mens rundt 1 av 4 (24 %) mener det har gitt flere arbeidsplasser. Nær 4 av 10 (38 %) oppgir at senteret har ført til «andre» positive ringvirkninger. </a:t>
            </a:r>
            <a:endParaRPr lang="nb-NO" sz="1400" dirty="0">
              <a:solidFill>
                <a:schemeClr val="tx1"/>
              </a:solidFill>
            </a:endParaRPr>
          </a:p>
        </p:txBody>
      </p:sp>
      <p:sp>
        <p:nvSpPr>
          <p:cNvPr id="14" name="TekstSylinder 13">
            <a:extLst>
              <a:ext uri="{FF2B5EF4-FFF2-40B4-BE49-F238E27FC236}">
                <a16:creationId xmlns:a16="http://schemas.microsoft.com/office/drawing/2014/main" id="{DC3D2A79-829D-4AF6-A177-E8EB36D1F096}"/>
              </a:ext>
            </a:extLst>
          </p:cNvPr>
          <p:cNvSpPr txBox="1"/>
          <p:nvPr/>
        </p:nvSpPr>
        <p:spPr>
          <a:xfrm>
            <a:off x="407368" y="674693"/>
            <a:ext cx="11521280" cy="954107"/>
          </a:xfrm>
          <a:prstGeom prst="rect">
            <a:avLst/>
          </a:prstGeom>
          <a:noFill/>
        </p:spPr>
        <p:txBody>
          <a:bodyPr wrap="square" rtlCol="0">
            <a:spAutoFit/>
          </a:bodyPr>
          <a:lstStyle/>
          <a:p>
            <a:r>
              <a:rPr lang="en-GB" sz="2800" dirty="0">
                <a:latin typeface="+mj-lt"/>
              </a:rPr>
              <a:t>Flest opplever positive ringvirkninger i form av økt beredskap i nærområdet</a:t>
            </a:r>
          </a:p>
        </p:txBody>
      </p:sp>
    </p:spTree>
    <p:extLst>
      <p:ext uri="{BB962C8B-B14F-4D97-AF65-F5344CB8AC3E}">
        <p14:creationId xmlns:p14="http://schemas.microsoft.com/office/powerpoint/2010/main" val="14320657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5E77C17-D01F-441E-89B1-B2905769C0F2}"/>
              </a:ext>
            </a:extLst>
          </p:cNvPr>
          <p:cNvSpPr>
            <a:spLocks noGrp="1"/>
          </p:cNvSpPr>
          <p:nvPr>
            <p:ph type="body" sz="quarter" idx="15"/>
          </p:nvPr>
        </p:nvSpPr>
        <p:spPr>
          <a:xfrm>
            <a:off x="3357114" y="1484784"/>
            <a:ext cx="8067478" cy="292388"/>
          </a:xfrm>
        </p:spPr>
        <p:txBody>
          <a:bodyPr/>
          <a:lstStyle/>
          <a:p>
            <a:pPr>
              <a:spcBef>
                <a:spcPts val="0"/>
              </a:spcBef>
            </a:pPr>
            <a:r>
              <a:rPr lang="nb-NO" sz="1600" i="1" dirty="0">
                <a:solidFill>
                  <a:schemeClr val="tx1"/>
                </a:solidFill>
                <a:cs typeface="Times New Roman" panose="02020603050405020304" pitchFamily="18" charset="0"/>
              </a:rPr>
              <a:t>Hvilke positive ringvirkninger er dette? Annet, skriv inn:</a:t>
            </a:r>
          </a:p>
        </p:txBody>
      </p:sp>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23</a:t>
            </a:fld>
            <a:r>
              <a:rPr lang="nb-NO" noProof="0" dirty="0"/>
              <a:t> ‒ </a:t>
            </a:r>
          </a:p>
        </p:txBody>
      </p:sp>
      <p:sp>
        <p:nvSpPr>
          <p:cNvPr id="7" name="Title 6">
            <a:extLst>
              <a:ext uri="{FF2B5EF4-FFF2-40B4-BE49-F238E27FC236}">
                <a16:creationId xmlns:a16="http://schemas.microsoft.com/office/drawing/2014/main" id="{AFAB9416-0A9F-47EF-B35A-71A6C2DFFEB4}"/>
              </a:ext>
            </a:extLst>
          </p:cNvPr>
          <p:cNvSpPr>
            <a:spLocks noGrp="1"/>
          </p:cNvSpPr>
          <p:nvPr>
            <p:ph type="title"/>
          </p:nvPr>
        </p:nvSpPr>
        <p:spPr>
          <a:xfrm>
            <a:off x="404786" y="382816"/>
            <a:ext cx="11382428" cy="313932"/>
          </a:xfrm>
        </p:spPr>
        <p:txBody>
          <a:bodyPr/>
          <a:lstStyle/>
          <a:p>
            <a:r>
              <a:rPr lang="nb-NO" sz="1600" dirty="0">
                <a:solidFill>
                  <a:schemeClr val="bg1">
                    <a:lumMod val="75000"/>
                  </a:schemeClr>
                </a:solidFill>
              </a:rPr>
              <a:t>PÅVIRKNING</a:t>
            </a:r>
          </a:p>
        </p:txBody>
      </p:sp>
      <p:sp>
        <p:nvSpPr>
          <p:cNvPr id="8" name="Speech Bubble: Rectangle with Corners Rounded 6">
            <a:extLst>
              <a:ext uri="{FF2B5EF4-FFF2-40B4-BE49-F238E27FC236}">
                <a16:creationId xmlns:a16="http://schemas.microsoft.com/office/drawing/2014/main" id="{D3C231D3-F951-4127-89BE-0A147370096A}"/>
              </a:ext>
            </a:extLst>
          </p:cNvPr>
          <p:cNvSpPr/>
          <p:nvPr/>
        </p:nvSpPr>
        <p:spPr>
          <a:xfrm>
            <a:off x="3863752" y="2357509"/>
            <a:ext cx="1942949" cy="1037230"/>
          </a:xfrm>
          <a:prstGeom prst="wedgeRoundRectCallout">
            <a:avLst>
              <a:gd name="adj1" fmla="val -6140"/>
              <a:gd name="adj2" fmla="val -63816"/>
              <a:gd name="adj3" fmla="val 16667"/>
            </a:avLst>
          </a:prstGeom>
          <a:solidFill>
            <a:srgbClr val="00AA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i="1" dirty="0"/>
              <a:t>Bedre infrastruktur (veier)</a:t>
            </a:r>
          </a:p>
        </p:txBody>
      </p:sp>
      <p:sp>
        <p:nvSpPr>
          <p:cNvPr id="12" name="Speech Bubble: Rectangle with Corners Rounded 7">
            <a:extLst>
              <a:ext uri="{FF2B5EF4-FFF2-40B4-BE49-F238E27FC236}">
                <a16:creationId xmlns:a16="http://schemas.microsoft.com/office/drawing/2014/main" id="{B3135DAE-A6BE-456E-9406-433B2F67C5BB}"/>
              </a:ext>
            </a:extLst>
          </p:cNvPr>
          <p:cNvSpPr/>
          <p:nvPr/>
        </p:nvSpPr>
        <p:spPr>
          <a:xfrm>
            <a:off x="4038988" y="3514093"/>
            <a:ext cx="1767713" cy="1037230"/>
          </a:xfrm>
          <a:prstGeom prst="wedgeRoundRectCallout">
            <a:avLst>
              <a:gd name="adj1" fmla="val 60619"/>
              <a:gd name="adj2" fmla="val -14474"/>
              <a:gd name="adj3" fmla="val 16667"/>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800" b="0" i="1" u="none" strike="noStrike" dirty="0">
                <a:effectLst/>
                <a:latin typeface="Tahoma" panose="020B0604030504040204" pitchFamily="34" charset="0"/>
              </a:rPr>
              <a:t>Opplever trygghet</a:t>
            </a:r>
            <a:r>
              <a:rPr lang="en-GB" sz="1400" i="1" dirty="0"/>
              <a:t> </a:t>
            </a:r>
            <a:endParaRPr lang="nb-NO" sz="1400" i="1" dirty="0"/>
          </a:p>
        </p:txBody>
      </p:sp>
      <p:sp>
        <p:nvSpPr>
          <p:cNvPr id="15" name="Speech Bubble: Rectangle with Corners Rounded 10">
            <a:extLst>
              <a:ext uri="{FF2B5EF4-FFF2-40B4-BE49-F238E27FC236}">
                <a16:creationId xmlns:a16="http://schemas.microsoft.com/office/drawing/2014/main" id="{6C6B8728-9757-4EE1-A652-2AE93A8CA7C2}"/>
              </a:ext>
            </a:extLst>
          </p:cNvPr>
          <p:cNvSpPr/>
          <p:nvPr/>
        </p:nvSpPr>
        <p:spPr>
          <a:xfrm>
            <a:off x="5911196" y="2357509"/>
            <a:ext cx="2414998" cy="1037230"/>
          </a:xfrm>
          <a:prstGeom prst="wedgeRoundRectCallout">
            <a:avLst/>
          </a:prstGeom>
          <a:solidFill>
            <a:srgbClr val="0076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i="1" dirty="0"/>
              <a:t>Positiv holdning til politiet</a:t>
            </a:r>
          </a:p>
        </p:txBody>
      </p:sp>
      <p:sp>
        <p:nvSpPr>
          <p:cNvPr id="17" name="Speech Bubble: Rectangle with Corners Rounded 13">
            <a:extLst>
              <a:ext uri="{FF2B5EF4-FFF2-40B4-BE49-F238E27FC236}">
                <a16:creationId xmlns:a16="http://schemas.microsoft.com/office/drawing/2014/main" id="{D4858A95-F88D-41A4-A320-E1F4FA9F69A5}"/>
              </a:ext>
            </a:extLst>
          </p:cNvPr>
          <p:cNvSpPr/>
          <p:nvPr/>
        </p:nvSpPr>
        <p:spPr>
          <a:xfrm>
            <a:off x="6055212" y="3657774"/>
            <a:ext cx="1715548" cy="1037230"/>
          </a:xfrm>
          <a:prstGeom prst="wedgeRoundRectCallout">
            <a:avLst>
              <a:gd name="adj1" fmla="val -35809"/>
              <a:gd name="adj2" fmla="val -69079"/>
              <a:gd name="adj3" fmla="val 16667"/>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i="1" dirty="0"/>
              <a:t>Utbedret veisystemer for skiløyper</a:t>
            </a:r>
          </a:p>
        </p:txBody>
      </p:sp>
      <p:sp>
        <p:nvSpPr>
          <p:cNvPr id="19" name="Text Placeholder 9">
            <a:extLst>
              <a:ext uri="{FF2B5EF4-FFF2-40B4-BE49-F238E27FC236}">
                <a16:creationId xmlns:a16="http://schemas.microsoft.com/office/drawing/2014/main" id="{81707803-31AC-4355-8E6A-DAFDDAF52547}"/>
              </a:ext>
            </a:extLst>
          </p:cNvPr>
          <p:cNvSpPr>
            <a:spLocks noGrp="1"/>
          </p:cNvSpPr>
          <p:nvPr>
            <p:ph type="body" sz="quarter" idx="17"/>
          </p:nvPr>
        </p:nvSpPr>
        <p:spPr>
          <a:xfrm>
            <a:off x="404786" y="6021868"/>
            <a:ext cx="11463417" cy="215444"/>
          </a:xfrm>
        </p:spPr>
        <p:txBody>
          <a:bodyPr/>
          <a:lstStyle/>
          <a:p>
            <a:r>
              <a:rPr lang="nb-NO" dirty="0"/>
              <a:t>Base: De som har svart «annet» på spørsmålet om hvilke positive ringvirkninger beredskapssenteret har gitt lokalsamfunnet,  (n=49)</a:t>
            </a:r>
          </a:p>
        </p:txBody>
      </p:sp>
    </p:spTree>
    <p:extLst>
      <p:ext uri="{BB962C8B-B14F-4D97-AF65-F5344CB8AC3E}">
        <p14:creationId xmlns:p14="http://schemas.microsoft.com/office/powerpoint/2010/main" val="20919664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5E77C17-D01F-441E-89B1-B2905769C0F2}"/>
              </a:ext>
            </a:extLst>
          </p:cNvPr>
          <p:cNvSpPr>
            <a:spLocks noGrp="1"/>
          </p:cNvSpPr>
          <p:nvPr>
            <p:ph type="body" sz="quarter" idx="15"/>
          </p:nvPr>
        </p:nvSpPr>
        <p:spPr>
          <a:xfrm>
            <a:off x="479376" y="2132856"/>
            <a:ext cx="10009112" cy="538609"/>
          </a:xfrm>
        </p:spPr>
        <p:txBody>
          <a:bodyPr/>
          <a:lstStyle/>
          <a:p>
            <a:r>
              <a:rPr lang="nb-NO" sz="1600" i="1" dirty="0">
                <a:solidFill>
                  <a:schemeClr val="tx1"/>
                </a:solidFill>
                <a:cs typeface="Times New Roman" panose="02020603050405020304" pitchFamily="18" charset="0"/>
              </a:rPr>
              <a:t>I hvilken grad opplever du at beredskapssenteret har gitt negative ringvirkninger i lokalsamfunnet?</a:t>
            </a:r>
          </a:p>
        </p:txBody>
      </p:sp>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24</a:t>
            </a:fld>
            <a:r>
              <a:rPr lang="nb-NO" noProof="0" dirty="0"/>
              <a:t> ‒ </a:t>
            </a:r>
          </a:p>
        </p:txBody>
      </p:sp>
      <p:sp>
        <p:nvSpPr>
          <p:cNvPr id="7" name="Title 6">
            <a:extLst>
              <a:ext uri="{FF2B5EF4-FFF2-40B4-BE49-F238E27FC236}">
                <a16:creationId xmlns:a16="http://schemas.microsoft.com/office/drawing/2014/main" id="{AFAB9416-0A9F-47EF-B35A-71A6C2DFFEB4}"/>
              </a:ext>
            </a:extLst>
          </p:cNvPr>
          <p:cNvSpPr>
            <a:spLocks noGrp="1"/>
          </p:cNvSpPr>
          <p:nvPr>
            <p:ph type="title"/>
          </p:nvPr>
        </p:nvSpPr>
        <p:spPr>
          <a:xfrm>
            <a:off x="404786" y="382816"/>
            <a:ext cx="11382428" cy="313932"/>
          </a:xfrm>
        </p:spPr>
        <p:txBody>
          <a:bodyPr/>
          <a:lstStyle/>
          <a:p>
            <a:r>
              <a:rPr lang="nb-NO" sz="1600" dirty="0">
                <a:solidFill>
                  <a:schemeClr val="bg1">
                    <a:lumMod val="75000"/>
                  </a:schemeClr>
                </a:solidFill>
              </a:rPr>
              <a:t>PÅVIRKNING</a:t>
            </a:r>
          </a:p>
        </p:txBody>
      </p:sp>
      <p:sp>
        <p:nvSpPr>
          <p:cNvPr id="32" name="Rektangel 31">
            <a:extLst>
              <a:ext uri="{FF2B5EF4-FFF2-40B4-BE49-F238E27FC236}">
                <a16:creationId xmlns:a16="http://schemas.microsoft.com/office/drawing/2014/main" id="{5673CF95-FD25-4DB4-927C-FBEFE121B57B}"/>
              </a:ext>
            </a:extLst>
          </p:cNvPr>
          <p:cNvSpPr/>
          <p:nvPr/>
        </p:nvSpPr>
        <p:spPr>
          <a:xfrm>
            <a:off x="404786" y="4653136"/>
            <a:ext cx="11441563" cy="1296144"/>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nb-NO" sz="1100" dirty="0">
                <a:solidFill>
                  <a:schemeClr val="tx1"/>
                </a:solidFill>
              </a:rPr>
              <a:t>Flertallet (69 %) mener også at beredskapssenteret i «liten» eller «ingen grad» har gitt negative ringvirkninger til lokalsamfunnet, mens 25 % mener det i «noen» eller «høy grad» har gjort dette. </a:t>
            </a:r>
          </a:p>
          <a:p>
            <a:pPr algn="just"/>
            <a:endParaRPr lang="nb-NO" sz="1100" dirty="0">
              <a:solidFill>
                <a:schemeClr val="tx1"/>
              </a:solidFill>
            </a:endParaRPr>
          </a:p>
          <a:p>
            <a:pPr algn="just"/>
            <a:r>
              <a:rPr lang="nb-NO" sz="1100" dirty="0">
                <a:solidFill>
                  <a:schemeClr val="tx1"/>
                </a:solidFill>
              </a:rPr>
              <a:t>Blant de som bor i Bjørndal er det en lavere andel som svarer i «ingen grad» (38 %) og flere som svarer «vet ikke» (12 %) sammenlignet med gjennomsnittet av de spurte. Det en høyere andel av personer bosatt i området Langhus som svarer i «ingen grad» (56 %). Blant de som bor nærmest senteret er andelen som opplever at senteret har gitt negative ringvirkninger i lokalsamfunnet noe høyere enn blant gjennomsnittet av de spurte; Blant de som anslår at de er bosatt inntil 1.5 km fra senteret svarer 13 % at senteret i «høy grad» har gitt negative ringvirkninger. Blant de som er bosatt 1.5–2 km fra senteret svarer 31 % at beredskapssenteret i «noen grad» har gitt negative ringvirkninger. </a:t>
            </a:r>
          </a:p>
        </p:txBody>
      </p:sp>
      <p:sp>
        <p:nvSpPr>
          <p:cNvPr id="34" name="Text Placeholder 9">
            <a:extLst>
              <a:ext uri="{FF2B5EF4-FFF2-40B4-BE49-F238E27FC236}">
                <a16:creationId xmlns:a16="http://schemas.microsoft.com/office/drawing/2014/main" id="{E21CD09B-7BF8-4E04-8FAE-94E66302B3FC}"/>
              </a:ext>
            </a:extLst>
          </p:cNvPr>
          <p:cNvSpPr txBox="1">
            <a:spLocks/>
          </p:cNvSpPr>
          <p:nvPr/>
        </p:nvSpPr>
        <p:spPr>
          <a:xfrm>
            <a:off x="393223" y="6066933"/>
            <a:ext cx="11463417" cy="215444"/>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 typeface="Arial" panose="020B0604020202020204" pitchFamily="34" charset="0"/>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dirty="0"/>
              <a:t>Base: Alle, n=602</a:t>
            </a:r>
          </a:p>
        </p:txBody>
      </p:sp>
      <p:graphicFrame>
        <p:nvGraphicFramePr>
          <p:cNvPr id="35" name="Chart 4">
            <a:extLst>
              <a:ext uri="{FF2B5EF4-FFF2-40B4-BE49-F238E27FC236}">
                <a16:creationId xmlns:a16="http://schemas.microsoft.com/office/drawing/2014/main" id="{065F6E31-E875-4206-8500-7A98C7F6D573}"/>
              </a:ext>
            </a:extLst>
          </p:cNvPr>
          <p:cNvGraphicFramePr/>
          <p:nvPr>
            <p:extLst>
              <p:ext uri="{D42A27DB-BD31-4B8C-83A1-F6EECF244321}">
                <p14:modId xmlns:p14="http://schemas.microsoft.com/office/powerpoint/2010/main" val="4007822156"/>
              </p:ext>
            </p:extLst>
          </p:nvPr>
        </p:nvGraphicFramePr>
        <p:xfrm>
          <a:off x="89508" y="2204864"/>
          <a:ext cx="11767132" cy="2893114"/>
        </p:xfrm>
        <a:graphic>
          <a:graphicData uri="http://schemas.openxmlformats.org/drawingml/2006/chart">
            <c:chart xmlns:c="http://schemas.openxmlformats.org/drawingml/2006/chart" xmlns:r="http://schemas.openxmlformats.org/officeDocument/2006/relationships" r:id="rId2"/>
          </a:graphicData>
        </a:graphic>
      </p:graphicFrame>
      <p:sp>
        <p:nvSpPr>
          <p:cNvPr id="11" name="TekstSylinder 10">
            <a:extLst>
              <a:ext uri="{FF2B5EF4-FFF2-40B4-BE49-F238E27FC236}">
                <a16:creationId xmlns:a16="http://schemas.microsoft.com/office/drawing/2014/main" id="{9F7E6685-90F7-48B5-AD60-FAA364A1C630}"/>
              </a:ext>
            </a:extLst>
          </p:cNvPr>
          <p:cNvSpPr txBox="1"/>
          <p:nvPr/>
        </p:nvSpPr>
        <p:spPr>
          <a:xfrm>
            <a:off x="407368" y="674693"/>
            <a:ext cx="11521280" cy="954107"/>
          </a:xfrm>
          <a:prstGeom prst="rect">
            <a:avLst/>
          </a:prstGeom>
          <a:noFill/>
        </p:spPr>
        <p:txBody>
          <a:bodyPr wrap="square" rtlCol="0">
            <a:spAutoFit/>
          </a:bodyPr>
          <a:lstStyle/>
          <a:p>
            <a:r>
              <a:rPr lang="en-GB" sz="2800" dirty="0">
                <a:latin typeface="+mj-lt"/>
              </a:rPr>
              <a:t>Flertallet opplever også i </a:t>
            </a:r>
            <a:r>
              <a:rPr lang="nb-NO" sz="2800" b="1" dirty="0">
                <a:solidFill>
                  <a:schemeClr val="tx1"/>
                </a:solidFill>
                <a:cs typeface="Calibri" panose="020F0502020204030204" pitchFamily="34" charset="0"/>
              </a:rPr>
              <a:t>«</a:t>
            </a:r>
            <a:r>
              <a:rPr lang="en-GB" sz="2800" dirty="0">
                <a:latin typeface="+mj-lt"/>
              </a:rPr>
              <a:t>liten</a:t>
            </a:r>
            <a:r>
              <a:rPr lang="nb-NO" sz="2800" b="1" dirty="0">
                <a:solidFill>
                  <a:schemeClr val="tx1"/>
                </a:solidFill>
                <a:cs typeface="Calibri" panose="020F0502020204030204" pitchFamily="34" charset="0"/>
              </a:rPr>
              <a:t>»</a:t>
            </a:r>
            <a:r>
              <a:rPr lang="en-GB" sz="2800" dirty="0">
                <a:latin typeface="+mj-lt"/>
              </a:rPr>
              <a:t> eller </a:t>
            </a:r>
            <a:r>
              <a:rPr lang="nb-NO" sz="2800" b="1" dirty="0">
                <a:solidFill>
                  <a:schemeClr val="tx1"/>
                </a:solidFill>
                <a:cs typeface="Calibri" panose="020F0502020204030204" pitchFamily="34" charset="0"/>
              </a:rPr>
              <a:t>«</a:t>
            </a:r>
            <a:r>
              <a:rPr lang="en-GB" sz="2800" dirty="0">
                <a:latin typeface="+mj-lt"/>
              </a:rPr>
              <a:t>ingen grad</a:t>
            </a:r>
            <a:r>
              <a:rPr lang="nb-NO" sz="2800" b="1" dirty="0">
                <a:solidFill>
                  <a:schemeClr val="tx1"/>
                </a:solidFill>
                <a:cs typeface="Calibri" panose="020F0502020204030204" pitchFamily="34" charset="0"/>
              </a:rPr>
              <a:t>»</a:t>
            </a:r>
            <a:r>
              <a:rPr lang="en-GB" sz="2800" dirty="0">
                <a:latin typeface="+mj-lt"/>
              </a:rPr>
              <a:t> at senteret har gitt negative ringvirkninger i lokalsamfunnet</a:t>
            </a:r>
          </a:p>
        </p:txBody>
      </p:sp>
    </p:spTree>
    <p:extLst>
      <p:ext uri="{BB962C8B-B14F-4D97-AF65-F5344CB8AC3E}">
        <p14:creationId xmlns:p14="http://schemas.microsoft.com/office/powerpoint/2010/main" val="353762998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5E77C17-D01F-441E-89B1-B2905769C0F2}"/>
              </a:ext>
            </a:extLst>
          </p:cNvPr>
          <p:cNvSpPr>
            <a:spLocks noGrp="1"/>
          </p:cNvSpPr>
          <p:nvPr>
            <p:ph type="body" sz="quarter" idx="15"/>
          </p:nvPr>
        </p:nvSpPr>
        <p:spPr>
          <a:xfrm>
            <a:off x="479376" y="1916832"/>
            <a:ext cx="8067478" cy="292388"/>
          </a:xfrm>
        </p:spPr>
        <p:txBody>
          <a:bodyPr/>
          <a:lstStyle/>
          <a:p>
            <a:r>
              <a:rPr lang="nb-NO" sz="1600" i="1" dirty="0">
                <a:solidFill>
                  <a:schemeClr val="tx1"/>
                </a:solidFill>
                <a:cs typeface="Times New Roman" panose="02020603050405020304" pitchFamily="18" charset="0"/>
              </a:rPr>
              <a:t>Hvilke negative ringvirkninger er dette?</a:t>
            </a:r>
          </a:p>
        </p:txBody>
      </p:sp>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25</a:t>
            </a:fld>
            <a:r>
              <a:rPr lang="nb-NO" noProof="0" dirty="0"/>
              <a:t> ‒ </a:t>
            </a:r>
          </a:p>
        </p:txBody>
      </p:sp>
      <p:sp>
        <p:nvSpPr>
          <p:cNvPr id="7" name="Title 6">
            <a:extLst>
              <a:ext uri="{FF2B5EF4-FFF2-40B4-BE49-F238E27FC236}">
                <a16:creationId xmlns:a16="http://schemas.microsoft.com/office/drawing/2014/main" id="{AFAB9416-0A9F-47EF-B35A-71A6C2DFFEB4}"/>
              </a:ext>
            </a:extLst>
          </p:cNvPr>
          <p:cNvSpPr>
            <a:spLocks noGrp="1"/>
          </p:cNvSpPr>
          <p:nvPr>
            <p:ph type="title"/>
          </p:nvPr>
        </p:nvSpPr>
        <p:spPr>
          <a:xfrm>
            <a:off x="404786" y="382816"/>
            <a:ext cx="11382428" cy="313932"/>
          </a:xfrm>
        </p:spPr>
        <p:txBody>
          <a:bodyPr/>
          <a:lstStyle/>
          <a:p>
            <a:r>
              <a:rPr lang="nb-NO" sz="1600" dirty="0">
                <a:solidFill>
                  <a:schemeClr val="bg1">
                    <a:lumMod val="75000"/>
                  </a:schemeClr>
                </a:solidFill>
              </a:rPr>
              <a:t>PÅVIRKNING</a:t>
            </a:r>
          </a:p>
        </p:txBody>
      </p:sp>
      <p:graphicFrame>
        <p:nvGraphicFramePr>
          <p:cNvPr id="11" name="Chart 4">
            <a:extLst>
              <a:ext uri="{FF2B5EF4-FFF2-40B4-BE49-F238E27FC236}">
                <a16:creationId xmlns:a16="http://schemas.microsoft.com/office/drawing/2014/main" id="{637CC11B-E697-4D4A-9BE1-9DCA3D718F3A}"/>
              </a:ext>
            </a:extLst>
          </p:cNvPr>
          <p:cNvGraphicFramePr/>
          <p:nvPr>
            <p:extLst>
              <p:ext uri="{D42A27DB-BD31-4B8C-83A1-F6EECF244321}">
                <p14:modId xmlns:p14="http://schemas.microsoft.com/office/powerpoint/2010/main" val="4132102306"/>
              </p:ext>
            </p:extLst>
          </p:nvPr>
        </p:nvGraphicFramePr>
        <p:xfrm>
          <a:off x="-3193032" y="1916832"/>
          <a:ext cx="13825536" cy="3652394"/>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5">
            <a:extLst>
              <a:ext uri="{FF2B5EF4-FFF2-40B4-BE49-F238E27FC236}">
                <a16:creationId xmlns:a16="http://schemas.microsoft.com/office/drawing/2014/main" id="{71CC3D72-F209-45BB-B1AD-3A0B9AEFF6B6}"/>
              </a:ext>
            </a:extLst>
          </p:cNvPr>
          <p:cNvSpPr/>
          <p:nvPr/>
        </p:nvSpPr>
        <p:spPr>
          <a:xfrm>
            <a:off x="8184232" y="2780928"/>
            <a:ext cx="3602982" cy="1368152"/>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dirty="0">
                <a:solidFill>
                  <a:schemeClr val="tx1"/>
                </a:solidFill>
              </a:rPr>
              <a:t>Blant de som mener senteret har gitt negative ringvirkninger i lokalsamfunnet svarer nær 7 av 10 at det er økt lyd og støy i lokalområdet som er problematisk. 43 % har opplevd mer helikoptertrafikk, mens 18 % har opplevd «andre» negative ringvirkninger. </a:t>
            </a:r>
          </a:p>
        </p:txBody>
      </p:sp>
      <p:sp>
        <p:nvSpPr>
          <p:cNvPr id="12" name="Text Placeholder 9">
            <a:extLst>
              <a:ext uri="{FF2B5EF4-FFF2-40B4-BE49-F238E27FC236}">
                <a16:creationId xmlns:a16="http://schemas.microsoft.com/office/drawing/2014/main" id="{B6893F1D-9567-4853-B4A2-830929E71C4F}"/>
              </a:ext>
            </a:extLst>
          </p:cNvPr>
          <p:cNvSpPr txBox="1">
            <a:spLocks/>
          </p:cNvSpPr>
          <p:nvPr/>
        </p:nvSpPr>
        <p:spPr>
          <a:xfrm>
            <a:off x="393223" y="6021868"/>
            <a:ext cx="11463417" cy="215444"/>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 typeface="Arial" panose="020B0604020202020204" pitchFamily="34" charset="0"/>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dirty="0"/>
              <a:t>Base: De som har svart at beredskapssenteret i «høy» eller «noen grad» har gitt negative ringvirkninger i lokalsamfunnet, n=153</a:t>
            </a:r>
          </a:p>
        </p:txBody>
      </p:sp>
      <p:sp>
        <p:nvSpPr>
          <p:cNvPr id="10" name="TekstSylinder 9">
            <a:extLst>
              <a:ext uri="{FF2B5EF4-FFF2-40B4-BE49-F238E27FC236}">
                <a16:creationId xmlns:a16="http://schemas.microsoft.com/office/drawing/2014/main" id="{D7FB2E11-C2E2-4FCE-8D07-8165E79EB9AA}"/>
              </a:ext>
            </a:extLst>
          </p:cNvPr>
          <p:cNvSpPr txBox="1"/>
          <p:nvPr/>
        </p:nvSpPr>
        <p:spPr>
          <a:xfrm>
            <a:off x="407368" y="692696"/>
            <a:ext cx="11521280" cy="954107"/>
          </a:xfrm>
          <a:prstGeom prst="rect">
            <a:avLst/>
          </a:prstGeom>
          <a:noFill/>
        </p:spPr>
        <p:txBody>
          <a:bodyPr wrap="square" rtlCol="0">
            <a:spAutoFit/>
          </a:bodyPr>
          <a:lstStyle/>
          <a:p>
            <a:r>
              <a:rPr lang="en-GB" sz="2800" dirty="0">
                <a:latin typeface="+mj-lt"/>
              </a:rPr>
              <a:t>Flest opplever negative ringvirkninger i form av økt støy og lyd</a:t>
            </a:r>
          </a:p>
        </p:txBody>
      </p:sp>
    </p:spTree>
    <p:extLst>
      <p:ext uri="{BB962C8B-B14F-4D97-AF65-F5344CB8AC3E}">
        <p14:creationId xmlns:p14="http://schemas.microsoft.com/office/powerpoint/2010/main" val="18089206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5E77C17-D01F-441E-89B1-B2905769C0F2}"/>
              </a:ext>
            </a:extLst>
          </p:cNvPr>
          <p:cNvSpPr>
            <a:spLocks noGrp="1"/>
          </p:cNvSpPr>
          <p:nvPr>
            <p:ph type="body" sz="quarter" idx="15"/>
          </p:nvPr>
        </p:nvSpPr>
        <p:spPr>
          <a:xfrm>
            <a:off x="1415480" y="1628800"/>
            <a:ext cx="8712968" cy="292388"/>
          </a:xfrm>
        </p:spPr>
        <p:txBody>
          <a:bodyPr/>
          <a:lstStyle/>
          <a:p>
            <a:pPr algn="ctr">
              <a:spcBef>
                <a:spcPts val="0"/>
              </a:spcBef>
            </a:pPr>
            <a:r>
              <a:rPr lang="nb-NO" sz="1600" i="1" dirty="0">
                <a:solidFill>
                  <a:schemeClr val="tx1"/>
                </a:solidFill>
                <a:cs typeface="Times New Roman" panose="02020603050405020304" pitchFamily="18" charset="0"/>
              </a:rPr>
              <a:t>Hvilke negative ringvirkninger er dette? Annet, skriv inn:</a:t>
            </a:r>
          </a:p>
        </p:txBody>
      </p:sp>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26</a:t>
            </a:fld>
            <a:r>
              <a:rPr lang="nb-NO" noProof="0" dirty="0"/>
              <a:t> ‒ </a:t>
            </a:r>
          </a:p>
        </p:txBody>
      </p:sp>
      <p:sp>
        <p:nvSpPr>
          <p:cNvPr id="7" name="Title 6">
            <a:extLst>
              <a:ext uri="{FF2B5EF4-FFF2-40B4-BE49-F238E27FC236}">
                <a16:creationId xmlns:a16="http://schemas.microsoft.com/office/drawing/2014/main" id="{AFAB9416-0A9F-47EF-B35A-71A6C2DFFEB4}"/>
              </a:ext>
            </a:extLst>
          </p:cNvPr>
          <p:cNvSpPr>
            <a:spLocks noGrp="1"/>
          </p:cNvSpPr>
          <p:nvPr>
            <p:ph type="title"/>
          </p:nvPr>
        </p:nvSpPr>
        <p:spPr>
          <a:xfrm>
            <a:off x="404786" y="382816"/>
            <a:ext cx="11382428" cy="313932"/>
          </a:xfrm>
        </p:spPr>
        <p:txBody>
          <a:bodyPr/>
          <a:lstStyle/>
          <a:p>
            <a:r>
              <a:rPr lang="nb-NO" sz="1600" dirty="0">
                <a:solidFill>
                  <a:schemeClr val="bg1">
                    <a:lumMod val="75000"/>
                  </a:schemeClr>
                </a:solidFill>
              </a:rPr>
              <a:t>PÅVIRKNING</a:t>
            </a:r>
          </a:p>
        </p:txBody>
      </p:sp>
      <p:sp>
        <p:nvSpPr>
          <p:cNvPr id="6" name="Speech Bubble: Rectangle with Corners Rounded 6">
            <a:extLst>
              <a:ext uri="{FF2B5EF4-FFF2-40B4-BE49-F238E27FC236}">
                <a16:creationId xmlns:a16="http://schemas.microsoft.com/office/drawing/2014/main" id="{D2819ECA-FD18-4E9F-A743-275893E6423D}"/>
              </a:ext>
            </a:extLst>
          </p:cNvPr>
          <p:cNvSpPr/>
          <p:nvPr/>
        </p:nvSpPr>
        <p:spPr>
          <a:xfrm>
            <a:off x="1887103" y="2512688"/>
            <a:ext cx="1942949" cy="1037230"/>
          </a:xfrm>
          <a:prstGeom prst="wedgeRoundRectCallout">
            <a:avLst>
              <a:gd name="adj1" fmla="val -6140"/>
              <a:gd name="adj2" fmla="val -63816"/>
              <a:gd name="adj3" fmla="val 16667"/>
            </a:avLst>
          </a:prstGeom>
          <a:solidFill>
            <a:srgbClr val="00AA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i="1" dirty="0"/>
              <a:t>Beredskapssenteret kan være mål for angrep utenfra</a:t>
            </a:r>
          </a:p>
        </p:txBody>
      </p:sp>
      <p:sp>
        <p:nvSpPr>
          <p:cNvPr id="8" name="Speech Bubble: Rectangle with Corners Rounded 7">
            <a:extLst>
              <a:ext uri="{FF2B5EF4-FFF2-40B4-BE49-F238E27FC236}">
                <a16:creationId xmlns:a16="http://schemas.microsoft.com/office/drawing/2014/main" id="{B17FB2A7-FEF6-4E4C-A792-5D9F5A441FC4}"/>
              </a:ext>
            </a:extLst>
          </p:cNvPr>
          <p:cNvSpPr/>
          <p:nvPr/>
        </p:nvSpPr>
        <p:spPr>
          <a:xfrm>
            <a:off x="7262942" y="3705160"/>
            <a:ext cx="1767713" cy="1037230"/>
          </a:xfrm>
          <a:prstGeom prst="wedgeRoundRectCallout">
            <a:avLst>
              <a:gd name="adj1" fmla="val 60619"/>
              <a:gd name="adj2" fmla="val -14474"/>
              <a:gd name="adj3" fmla="val 16667"/>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i="1" dirty="0"/>
              <a:t>Fjerning av kulturmark</a:t>
            </a:r>
          </a:p>
        </p:txBody>
      </p:sp>
      <p:sp>
        <p:nvSpPr>
          <p:cNvPr id="11" name="Speech Bubble: Rectangle with Corners Rounded 8">
            <a:extLst>
              <a:ext uri="{FF2B5EF4-FFF2-40B4-BE49-F238E27FC236}">
                <a16:creationId xmlns:a16="http://schemas.microsoft.com/office/drawing/2014/main" id="{93E2EB6C-F6B5-49B4-A27D-9F007F6D6C0A}"/>
              </a:ext>
            </a:extLst>
          </p:cNvPr>
          <p:cNvSpPr/>
          <p:nvPr/>
        </p:nvSpPr>
        <p:spPr>
          <a:xfrm>
            <a:off x="3965520" y="2496440"/>
            <a:ext cx="1715548" cy="1037230"/>
          </a:xfrm>
          <a:prstGeom prst="wedgeRoundRectCallout">
            <a:avLst>
              <a:gd name="adj1" fmla="val -35809"/>
              <a:gd name="adj2" fmla="val -69079"/>
              <a:gd name="adj3" fmla="val 16667"/>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i="1" dirty="0"/>
              <a:t>Ikke positivt for de som bor der, skyting og helikopter</a:t>
            </a:r>
          </a:p>
        </p:txBody>
      </p:sp>
      <p:sp>
        <p:nvSpPr>
          <p:cNvPr id="12" name="Speech Bubble: Rectangle with Corners Rounded 9">
            <a:extLst>
              <a:ext uri="{FF2B5EF4-FFF2-40B4-BE49-F238E27FC236}">
                <a16:creationId xmlns:a16="http://schemas.microsoft.com/office/drawing/2014/main" id="{B5BF5EC5-FE46-4DF8-8D5A-58EDCB273D84}"/>
              </a:ext>
            </a:extLst>
          </p:cNvPr>
          <p:cNvSpPr/>
          <p:nvPr/>
        </p:nvSpPr>
        <p:spPr>
          <a:xfrm>
            <a:off x="2456016" y="3657393"/>
            <a:ext cx="2087124" cy="1037230"/>
          </a:xfrm>
          <a:prstGeom prst="wedgeRoundRectCallout">
            <a:avLst>
              <a:gd name="adj1" fmla="val -59086"/>
              <a:gd name="adj2" fmla="val 3290"/>
              <a:gd name="adj3" fmla="val 16667"/>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i="1" dirty="0"/>
              <a:t>Hogst av skog</a:t>
            </a:r>
          </a:p>
        </p:txBody>
      </p:sp>
      <p:sp>
        <p:nvSpPr>
          <p:cNvPr id="13" name="Speech Bubble: Rectangle with Corners Rounded 10">
            <a:extLst>
              <a:ext uri="{FF2B5EF4-FFF2-40B4-BE49-F238E27FC236}">
                <a16:creationId xmlns:a16="http://schemas.microsoft.com/office/drawing/2014/main" id="{BCC80ACF-0E29-4358-A34D-D632A5F85C1C}"/>
              </a:ext>
            </a:extLst>
          </p:cNvPr>
          <p:cNvSpPr/>
          <p:nvPr/>
        </p:nvSpPr>
        <p:spPr>
          <a:xfrm>
            <a:off x="4695542" y="3705160"/>
            <a:ext cx="2414998" cy="1037230"/>
          </a:xfrm>
          <a:prstGeom prst="wedgeRoundRectCallout">
            <a:avLst/>
          </a:prstGeom>
          <a:solidFill>
            <a:srgbClr val="0076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i="1" dirty="0"/>
              <a:t>Påvirkning på barn</a:t>
            </a:r>
          </a:p>
        </p:txBody>
      </p:sp>
      <p:sp>
        <p:nvSpPr>
          <p:cNvPr id="14" name="Speech Bubble: Rectangle with Corners Rounded 11">
            <a:extLst>
              <a:ext uri="{FF2B5EF4-FFF2-40B4-BE49-F238E27FC236}">
                <a16:creationId xmlns:a16="http://schemas.microsoft.com/office/drawing/2014/main" id="{0339E21F-2F28-4CFF-8D61-7DC6612BE3F1}"/>
              </a:ext>
            </a:extLst>
          </p:cNvPr>
          <p:cNvSpPr/>
          <p:nvPr/>
        </p:nvSpPr>
        <p:spPr>
          <a:xfrm>
            <a:off x="5807968" y="2492896"/>
            <a:ext cx="1767713" cy="1037230"/>
          </a:xfrm>
          <a:prstGeom prst="wedgeRoundRectCallout">
            <a:avLst>
              <a:gd name="adj1" fmla="val 33702"/>
              <a:gd name="adj2" fmla="val -62500"/>
              <a:gd name="adj3" fmla="val 16667"/>
            </a:avLst>
          </a:prstGeom>
          <a:solidFill>
            <a:srgbClr val="8ABF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i="1" dirty="0"/>
              <a:t>Våkner om natten av støy</a:t>
            </a:r>
          </a:p>
        </p:txBody>
      </p:sp>
      <p:sp>
        <p:nvSpPr>
          <p:cNvPr id="15" name="Speech Bubble: Rectangle with Corners Rounded 13">
            <a:extLst>
              <a:ext uri="{FF2B5EF4-FFF2-40B4-BE49-F238E27FC236}">
                <a16:creationId xmlns:a16="http://schemas.microsoft.com/office/drawing/2014/main" id="{7176650F-A207-4F2A-95E9-6CE050558D00}"/>
              </a:ext>
            </a:extLst>
          </p:cNvPr>
          <p:cNvSpPr/>
          <p:nvPr/>
        </p:nvSpPr>
        <p:spPr>
          <a:xfrm>
            <a:off x="7693952" y="2511652"/>
            <a:ext cx="1715548" cy="1037230"/>
          </a:xfrm>
          <a:prstGeom prst="wedgeRoundRectCallout">
            <a:avLst>
              <a:gd name="adj1" fmla="val -35809"/>
              <a:gd name="adj2" fmla="val -69079"/>
              <a:gd name="adj3" fmla="val 16667"/>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600" i="1" dirty="0"/>
              <a:t>Etableringen var overkjøring av lokale interesser</a:t>
            </a:r>
          </a:p>
        </p:txBody>
      </p:sp>
      <p:sp>
        <p:nvSpPr>
          <p:cNvPr id="17" name="Text Placeholder 9">
            <a:extLst>
              <a:ext uri="{FF2B5EF4-FFF2-40B4-BE49-F238E27FC236}">
                <a16:creationId xmlns:a16="http://schemas.microsoft.com/office/drawing/2014/main" id="{6BFB1716-8313-485A-A3D7-BFF770A30D0C}"/>
              </a:ext>
            </a:extLst>
          </p:cNvPr>
          <p:cNvSpPr txBox="1">
            <a:spLocks/>
          </p:cNvSpPr>
          <p:nvPr/>
        </p:nvSpPr>
        <p:spPr>
          <a:xfrm>
            <a:off x="417262" y="6021868"/>
            <a:ext cx="11463417" cy="215444"/>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 typeface="Arial" panose="020B0604020202020204" pitchFamily="34" charset="0"/>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dirty="0"/>
              <a:t>Base: De som har svart «annet» på spørsmålet om hvilke negative ringvirkninger beredskapssenteret har gitt lokalsamfunnet, n=38</a:t>
            </a:r>
          </a:p>
        </p:txBody>
      </p:sp>
    </p:spTree>
    <p:extLst>
      <p:ext uri="{BB962C8B-B14F-4D97-AF65-F5344CB8AC3E}">
        <p14:creationId xmlns:p14="http://schemas.microsoft.com/office/powerpoint/2010/main" val="314231323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01F91D-D95C-4F14-915E-6CD417F02A5C}"/>
              </a:ext>
            </a:extLst>
          </p:cNvPr>
          <p:cNvSpPr>
            <a:spLocks noGrp="1"/>
          </p:cNvSpPr>
          <p:nvPr>
            <p:ph type="title"/>
          </p:nvPr>
        </p:nvSpPr>
        <p:spPr>
          <a:xfrm>
            <a:off x="459207" y="546021"/>
            <a:ext cx="7551996" cy="1436355"/>
          </a:xfrm>
        </p:spPr>
        <p:txBody>
          <a:bodyPr/>
          <a:lstStyle/>
          <a:p>
            <a:r>
              <a:rPr lang="nb-NO" dirty="0"/>
              <a:t>Om utvalget </a:t>
            </a:r>
            <a:r>
              <a:rPr lang="nb-NO" sz="4400" dirty="0"/>
              <a:t>(uvektet)</a:t>
            </a:r>
            <a:endParaRPr lang="nb-NO" dirty="0"/>
          </a:p>
        </p:txBody>
      </p:sp>
      <p:sp>
        <p:nvSpPr>
          <p:cNvPr id="5" name="Slide Number Placeholder 4">
            <a:extLst>
              <a:ext uri="{FF2B5EF4-FFF2-40B4-BE49-F238E27FC236}">
                <a16:creationId xmlns:a16="http://schemas.microsoft.com/office/drawing/2014/main" id="{2C147CCE-758A-4B3E-8B01-ABF1F188504C}"/>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white"/>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white"/>
                </a:solidFill>
                <a:effectLst/>
                <a:uLnTx/>
                <a:uFillTx/>
                <a:latin typeface="Arial Black"/>
                <a:ea typeface="+mn-ea"/>
                <a:cs typeface="+mn-cs"/>
              </a:rPr>
              <a:t> ‒ </a:t>
            </a:r>
          </a:p>
        </p:txBody>
      </p:sp>
    </p:spTree>
    <p:extLst>
      <p:ext uri="{BB962C8B-B14F-4D97-AF65-F5344CB8AC3E}">
        <p14:creationId xmlns:p14="http://schemas.microsoft.com/office/powerpoint/2010/main" val="7267054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28</a:t>
            </a:fld>
            <a:r>
              <a:rPr lang="nb-NO" noProof="0" dirty="0"/>
              <a:t> ‒ </a:t>
            </a:r>
          </a:p>
        </p:txBody>
      </p:sp>
      <p:sp>
        <p:nvSpPr>
          <p:cNvPr id="7" name="Title 6">
            <a:extLst>
              <a:ext uri="{FF2B5EF4-FFF2-40B4-BE49-F238E27FC236}">
                <a16:creationId xmlns:a16="http://schemas.microsoft.com/office/drawing/2014/main" id="{AFAB9416-0A9F-47EF-B35A-71A6C2DFFEB4}"/>
              </a:ext>
            </a:extLst>
          </p:cNvPr>
          <p:cNvSpPr>
            <a:spLocks noGrp="1"/>
          </p:cNvSpPr>
          <p:nvPr>
            <p:ph type="title"/>
          </p:nvPr>
        </p:nvSpPr>
        <p:spPr>
          <a:xfrm>
            <a:off x="404786" y="382816"/>
            <a:ext cx="11382428" cy="313932"/>
          </a:xfrm>
        </p:spPr>
        <p:txBody>
          <a:bodyPr/>
          <a:lstStyle/>
          <a:p>
            <a:r>
              <a:rPr lang="nb-NO" sz="1600" dirty="0">
                <a:solidFill>
                  <a:schemeClr val="bg1">
                    <a:lumMod val="75000"/>
                  </a:schemeClr>
                </a:solidFill>
              </a:rPr>
              <a:t>Om utvalget</a:t>
            </a:r>
          </a:p>
        </p:txBody>
      </p:sp>
      <p:graphicFrame>
        <p:nvGraphicFramePr>
          <p:cNvPr id="19" name="Chart 4">
            <a:extLst>
              <a:ext uri="{FF2B5EF4-FFF2-40B4-BE49-F238E27FC236}">
                <a16:creationId xmlns:a16="http://schemas.microsoft.com/office/drawing/2014/main" id="{4CB357B5-4D33-4489-A3AF-A2C184660E71}"/>
              </a:ext>
            </a:extLst>
          </p:cNvPr>
          <p:cNvGraphicFramePr>
            <a:graphicFrameLocks noChangeAspect="1"/>
          </p:cNvGraphicFramePr>
          <p:nvPr>
            <p:extLst>
              <p:ext uri="{D42A27DB-BD31-4B8C-83A1-F6EECF244321}">
                <p14:modId xmlns:p14="http://schemas.microsoft.com/office/powerpoint/2010/main" val="2313001636"/>
              </p:ext>
            </p:extLst>
          </p:nvPr>
        </p:nvGraphicFramePr>
        <p:xfrm>
          <a:off x="975259" y="1308505"/>
          <a:ext cx="1872037" cy="185463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4" name="Chart 9">
            <a:extLst>
              <a:ext uri="{FF2B5EF4-FFF2-40B4-BE49-F238E27FC236}">
                <a16:creationId xmlns:a16="http://schemas.microsoft.com/office/drawing/2014/main" id="{35F731A9-A3A3-408C-A538-FEBFF88E8DFB}"/>
              </a:ext>
            </a:extLst>
          </p:cNvPr>
          <p:cNvGraphicFramePr>
            <a:graphicFrameLocks noChangeAspect="1"/>
          </p:cNvGraphicFramePr>
          <p:nvPr>
            <p:extLst>
              <p:ext uri="{D42A27DB-BD31-4B8C-83A1-F6EECF244321}">
                <p14:modId xmlns:p14="http://schemas.microsoft.com/office/powerpoint/2010/main" val="1025947575"/>
              </p:ext>
            </p:extLst>
          </p:nvPr>
        </p:nvGraphicFramePr>
        <p:xfrm>
          <a:off x="8278122" y="1277143"/>
          <a:ext cx="1872037" cy="1854636"/>
        </p:xfrm>
        <a:graphic>
          <a:graphicData uri="http://schemas.openxmlformats.org/drawingml/2006/chart">
            <c:chart xmlns:c="http://schemas.openxmlformats.org/drawingml/2006/chart" xmlns:r="http://schemas.openxmlformats.org/officeDocument/2006/relationships" r:id="rId3"/>
          </a:graphicData>
        </a:graphic>
      </p:graphicFrame>
      <p:sp>
        <p:nvSpPr>
          <p:cNvPr id="25" name="TextBox 10">
            <a:extLst>
              <a:ext uri="{FF2B5EF4-FFF2-40B4-BE49-F238E27FC236}">
                <a16:creationId xmlns:a16="http://schemas.microsoft.com/office/drawing/2014/main" id="{BFF5F1DA-B90C-4065-8C30-E7773C833EE7}"/>
              </a:ext>
            </a:extLst>
          </p:cNvPr>
          <p:cNvSpPr txBox="1"/>
          <p:nvPr/>
        </p:nvSpPr>
        <p:spPr>
          <a:xfrm>
            <a:off x="559623" y="1905571"/>
            <a:ext cx="2763611" cy="466927"/>
          </a:xfrm>
          <a:prstGeom prst="rect">
            <a:avLst/>
          </a:prstGeom>
        </p:spPr>
        <p:txBody>
          <a:bodyPr vert="horz" lIns="0" tIns="0" rIns="0" bIns="0" rtlCol="0">
            <a:noAutofit/>
          </a:bodyPr>
          <a:lstStyle>
            <a:lvl1pPr indent="0" algn="ctr">
              <a:lnSpc>
                <a:spcPct val="90000"/>
              </a:lnSpc>
              <a:spcBef>
                <a:spcPts val="0"/>
              </a:spcBef>
              <a:buFont typeface="Arial" pitchFamily="34" charset="0"/>
              <a:buNone/>
              <a:defRPr sz="2000" b="1">
                <a:solidFill>
                  <a:schemeClr val="tx2"/>
                </a:solidFill>
                <a:latin typeface="+mj-lt"/>
                <a:cs typeface="Arial" panose="020B0604020202020204" pitchFamily="34" charset="0"/>
              </a:defRPr>
            </a:lvl1pPr>
            <a:lvl2pPr marL="180975" indent="-180975">
              <a:lnSpc>
                <a:spcPct val="90000"/>
              </a:lnSpc>
              <a:spcBef>
                <a:spcPts val="0"/>
              </a:spcBef>
              <a:buFont typeface="Arial" pitchFamily="34" charset="0"/>
              <a:buChar char="•"/>
              <a:defRPr sz="1200">
                <a:solidFill>
                  <a:schemeClr val="tx2"/>
                </a:solidFill>
              </a:defRPr>
            </a:lvl2pPr>
            <a:lvl3pPr marL="361950" indent="-171450">
              <a:lnSpc>
                <a:spcPct val="90000"/>
              </a:lnSpc>
              <a:spcBef>
                <a:spcPts val="0"/>
              </a:spcBef>
              <a:buFont typeface="Calibri" pitchFamily="34" charset="0"/>
              <a:buChar char="–"/>
              <a:defRPr sz="1200">
                <a:solidFill>
                  <a:schemeClr val="tx2"/>
                </a:solidFill>
              </a:defRPr>
            </a:lvl3pPr>
            <a:lvl4pPr marL="1825348" indent="-260764">
              <a:lnSpc>
                <a:spcPct val="90000"/>
              </a:lnSpc>
              <a:spcBef>
                <a:spcPts val="0"/>
              </a:spcBef>
              <a:buFont typeface="Arial" pitchFamily="34" charset="0"/>
              <a:buChar char="–"/>
              <a:defRPr sz="1200">
                <a:solidFill>
                  <a:schemeClr val="tx2"/>
                </a:solidFill>
              </a:defRPr>
            </a:lvl4pPr>
            <a:lvl5pPr marL="2346876" indent="-260764">
              <a:lnSpc>
                <a:spcPct val="90000"/>
              </a:lnSpc>
              <a:spcBef>
                <a:spcPts val="0"/>
              </a:spcBef>
              <a:buFont typeface="Arial" pitchFamily="34" charset="0"/>
              <a:buChar char="»"/>
              <a:defRPr sz="1200">
                <a:solidFill>
                  <a:schemeClr val="tx2"/>
                </a:solidFill>
              </a:defRPr>
            </a:lvl5pPr>
            <a:lvl6pPr marL="2868404" indent="-260764">
              <a:spcBef>
                <a:spcPct val="20000"/>
              </a:spcBef>
              <a:buFont typeface="Arial" pitchFamily="34" charset="0"/>
              <a:buChar char="•"/>
              <a:defRPr sz="2300"/>
            </a:lvl6pPr>
            <a:lvl7pPr marL="3389932" indent="-260764">
              <a:spcBef>
                <a:spcPct val="20000"/>
              </a:spcBef>
              <a:buFont typeface="Arial" pitchFamily="34" charset="0"/>
              <a:buChar char="•"/>
              <a:defRPr sz="2300"/>
            </a:lvl7pPr>
            <a:lvl8pPr marL="3911460" indent="-260764">
              <a:spcBef>
                <a:spcPct val="20000"/>
              </a:spcBef>
              <a:buFont typeface="Arial" pitchFamily="34" charset="0"/>
              <a:buChar char="•"/>
              <a:defRPr sz="2300"/>
            </a:lvl8pPr>
            <a:lvl9pPr marL="4432988" indent="-260764">
              <a:spcBef>
                <a:spcPct val="20000"/>
              </a:spcBef>
              <a:buFont typeface="Arial" pitchFamily="34" charset="0"/>
              <a:buChar char="•"/>
              <a:defRPr sz="2300"/>
            </a:lvl9pPr>
          </a:lstStyle>
          <a:p>
            <a:r>
              <a:rPr lang="en-GB" sz="2700" dirty="0">
                <a:solidFill>
                  <a:srgbClr val="007681"/>
                </a:solidFill>
              </a:rPr>
              <a:t>28%</a:t>
            </a:r>
          </a:p>
        </p:txBody>
      </p:sp>
      <p:sp>
        <p:nvSpPr>
          <p:cNvPr id="27" name="Rectangle 12">
            <a:extLst>
              <a:ext uri="{FF2B5EF4-FFF2-40B4-BE49-F238E27FC236}">
                <a16:creationId xmlns:a16="http://schemas.microsoft.com/office/drawing/2014/main" id="{35859E9C-2317-4665-80BD-2C608FC94053}"/>
              </a:ext>
            </a:extLst>
          </p:cNvPr>
          <p:cNvSpPr/>
          <p:nvPr/>
        </p:nvSpPr>
        <p:spPr>
          <a:xfrm>
            <a:off x="7885710" y="1864428"/>
            <a:ext cx="2702937" cy="725718"/>
          </a:xfrm>
          <a:prstGeom prst="rect">
            <a:avLst/>
          </a:prstGeom>
        </p:spPr>
        <p:txBody>
          <a:bodyPr vert="horz" lIns="0" tIns="0" rIns="0" bIns="0" rtlCol="0">
            <a:noAutofit/>
          </a:bodyPr>
          <a:lstStyle/>
          <a:p>
            <a:pPr algn="ctr">
              <a:lnSpc>
                <a:spcPct val="90000"/>
              </a:lnSpc>
              <a:buFont typeface="Arial" pitchFamily="34" charset="0"/>
              <a:buNone/>
            </a:pPr>
            <a:r>
              <a:rPr lang="en-GB" sz="2700" b="1" dirty="0">
                <a:solidFill>
                  <a:srgbClr val="0097CC"/>
                </a:solidFill>
                <a:latin typeface="+mj-lt"/>
                <a:cs typeface="Arial" panose="020B0604020202020204" pitchFamily="34" charset="0"/>
              </a:rPr>
              <a:t>17%</a:t>
            </a:r>
          </a:p>
        </p:txBody>
      </p:sp>
      <p:sp>
        <p:nvSpPr>
          <p:cNvPr id="28" name="TextBox 16">
            <a:extLst>
              <a:ext uri="{FF2B5EF4-FFF2-40B4-BE49-F238E27FC236}">
                <a16:creationId xmlns:a16="http://schemas.microsoft.com/office/drawing/2014/main" id="{EA534AE4-5C11-4097-B34C-AFB08E0E6C5C}"/>
              </a:ext>
            </a:extLst>
          </p:cNvPr>
          <p:cNvSpPr txBox="1"/>
          <p:nvPr/>
        </p:nvSpPr>
        <p:spPr>
          <a:xfrm>
            <a:off x="1486014" y="3009252"/>
            <a:ext cx="962123" cy="307777"/>
          </a:xfrm>
          <a:prstGeom prst="rect">
            <a:avLst/>
          </a:prstGeom>
        </p:spPr>
        <p:txBody>
          <a:bodyPr vert="horz" wrap="none" lIns="0" tIns="0" rIns="0" bIns="0" rtlCol="0">
            <a:spAutoFit/>
          </a:bodyPr>
          <a:lstStyle/>
          <a:p>
            <a:pPr marL="4763"/>
            <a:r>
              <a:rPr lang="nb-NO" sz="2000" dirty="0"/>
              <a:t>Bjørndal</a:t>
            </a:r>
          </a:p>
        </p:txBody>
      </p:sp>
      <p:sp>
        <p:nvSpPr>
          <p:cNvPr id="29" name="TextBox 17">
            <a:extLst>
              <a:ext uri="{FF2B5EF4-FFF2-40B4-BE49-F238E27FC236}">
                <a16:creationId xmlns:a16="http://schemas.microsoft.com/office/drawing/2014/main" id="{0A1006B3-D7AE-4A6E-BA8A-C4E5DC1DCD59}"/>
              </a:ext>
            </a:extLst>
          </p:cNvPr>
          <p:cNvSpPr txBox="1"/>
          <p:nvPr/>
        </p:nvSpPr>
        <p:spPr>
          <a:xfrm>
            <a:off x="4944071" y="2892789"/>
            <a:ext cx="1016625" cy="307777"/>
          </a:xfrm>
          <a:prstGeom prst="rect">
            <a:avLst/>
          </a:prstGeom>
        </p:spPr>
        <p:txBody>
          <a:bodyPr vert="horz" wrap="none" lIns="0" tIns="0" rIns="0" bIns="0" rtlCol="0">
            <a:spAutoFit/>
          </a:bodyPr>
          <a:lstStyle/>
          <a:p>
            <a:pPr marL="4763"/>
            <a:r>
              <a:rPr lang="nb-NO" sz="2000" dirty="0"/>
              <a:t>Sofiemyr</a:t>
            </a:r>
          </a:p>
        </p:txBody>
      </p:sp>
      <p:sp>
        <p:nvSpPr>
          <p:cNvPr id="30" name="TextBox 18">
            <a:extLst>
              <a:ext uri="{FF2B5EF4-FFF2-40B4-BE49-F238E27FC236}">
                <a16:creationId xmlns:a16="http://schemas.microsoft.com/office/drawing/2014/main" id="{048AE292-A66D-439B-9373-673C5F06495B}"/>
              </a:ext>
            </a:extLst>
          </p:cNvPr>
          <p:cNvSpPr txBox="1"/>
          <p:nvPr/>
        </p:nvSpPr>
        <p:spPr>
          <a:xfrm>
            <a:off x="8731572" y="2973143"/>
            <a:ext cx="1088760" cy="307777"/>
          </a:xfrm>
          <a:prstGeom prst="rect">
            <a:avLst/>
          </a:prstGeom>
        </p:spPr>
        <p:txBody>
          <a:bodyPr vert="horz" wrap="none" lIns="0" tIns="0" rIns="0" bIns="0" rtlCol="0">
            <a:spAutoFit/>
          </a:bodyPr>
          <a:lstStyle/>
          <a:p>
            <a:pPr marL="4763"/>
            <a:r>
              <a:rPr lang="nb-NO" sz="2000" dirty="0"/>
              <a:t>Tårnåsen</a:t>
            </a:r>
          </a:p>
        </p:txBody>
      </p:sp>
      <p:graphicFrame>
        <p:nvGraphicFramePr>
          <p:cNvPr id="32" name="Chart 8">
            <a:extLst>
              <a:ext uri="{FF2B5EF4-FFF2-40B4-BE49-F238E27FC236}">
                <a16:creationId xmlns:a16="http://schemas.microsoft.com/office/drawing/2014/main" id="{613E6DAC-39CF-4431-B862-7EE76E53F31E}"/>
              </a:ext>
            </a:extLst>
          </p:cNvPr>
          <p:cNvGraphicFramePr>
            <a:graphicFrameLocks noChangeAspect="1"/>
          </p:cNvGraphicFramePr>
          <p:nvPr>
            <p:extLst>
              <p:ext uri="{D42A27DB-BD31-4B8C-83A1-F6EECF244321}">
                <p14:modId xmlns:p14="http://schemas.microsoft.com/office/powerpoint/2010/main" val="110977295"/>
              </p:ext>
            </p:extLst>
          </p:nvPr>
        </p:nvGraphicFramePr>
        <p:xfrm>
          <a:off x="2777726" y="3316502"/>
          <a:ext cx="1872037" cy="1586301"/>
        </p:xfrm>
        <a:graphic>
          <a:graphicData uri="http://schemas.openxmlformats.org/drawingml/2006/chart">
            <c:chart xmlns:c="http://schemas.openxmlformats.org/drawingml/2006/chart" xmlns:r="http://schemas.openxmlformats.org/officeDocument/2006/relationships" r:id="rId4"/>
          </a:graphicData>
        </a:graphic>
      </p:graphicFrame>
      <p:sp>
        <p:nvSpPr>
          <p:cNvPr id="33" name="TextBox 17">
            <a:extLst>
              <a:ext uri="{FF2B5EF4-FFF2-40B4-BE49-F238E27FC236}">
                <a16:creationId xmlns:a16="http://schemas.microsoft.com/office/drawing/2014/main" id="{D07993CB-6240-439B-B0E9-28C288D95CF1}"/>
              </a:ext>
            </a:extLst>
          </p:cNvPr>
          <p:cNvSpPr txBox="1"/>
          <p:nvPr/>
        </p:nvSpPr>
        <p:spPr>
          <a:xfrm>
            <a:off x="3143672" y="5022271"/>
            <a:ext cx="1144865" cy="307777"/>
          </a:xfrm>
          <a:prstGeom prst="rect">
            <a:avLst/>
          </a:prstGeom>
        </p:spPr>
        <p:txBody>
          <a:bodyPr vert="horz" wrap="none" lIns="0" tIns="0" rIns="0" bIns="0" rtlCol="0">
            <a:spAutoFit/>
          </a:bodyPr>
          <a:lstStyle/>
          <a:p>
            <a:pPr marL="4763"/>
            <a:r>
              <a:rPr lang="nb-NO" sz="2000" dirty="0"/>
              <a:t>Oppegård</a:t>
            </a:r>
          </a:p>
        </p:txBody>
      </p:sp>
      <p:graphicFrame>
        <p:nvGraphicFramePr>
          <p:cNvPr id="34" name="Chart 9">
            <a:extLst>
              <a:ext uri="{FF2B5EF4-FFF2-40B4-BE49-F238E27FC236}">
                <a16:creationId xmlns:a16="http://schemas.microsoft.com/office/drawing/2014/main" id="{F28EF78E-9382-4332-9C60-117029B0312A}"/>
              </a:ext>
            </a:extLst>
          </p:cNvPr>
          <p:cNvGraphicFramePr>
            <a:graphicFrameLocks noChangeAspect="1"/>
          </p:cNvGraphicFramePr>
          <p:nvPr>
            <p:extLst>
              <p:ext uri="{D42A27DB-BD31-4B8C-83A1-F6EECF244321}">
                <p14:modId xmlns:p14="http://schemas.microsoft.com/office/powerpoint/2010/main" val="3398544694"/>
              </p:ext>
            </p:extLst>
          </p:nvPr>
        </p:nvGraphicFramePr>
        <p:xfrm>
          <a:off x="6600056" y="3212976"/>
          <a:ext cx="1872037" cy="1854636"/>
        </p:xfrm>
        <a:graphic>
          <a:graphicData uri="http://schemas.openxmlformats.org/drawingml/2006/chart">
            <c:chart xmlns:c="http://schemas.openxmlformats.org/drawingml/2006/chart" xmlns:r="http://schemas.openxmlformats.org/officeDocument/2006/relationships" r:id="rId5"/>
          </a:graphicData>
        </a:graphic>
      </p:graphicFrame>
      <p:sp>
        <p:nvSpPr>
          <p:cNvPr id="35" name="TextBox 18">
            <a:extLst>
              <a:ext uri="{FF2B5EF4-FFF2-40B4-BE49-F238E27FC236}">
                <a16:creationId xmlns:a16="http://schemas.microsoft.com/office/drawing/2014/main" id="{E004E30C-E9DA-4DEE-B937-F92E16508201}"/>
              </a:ext>
            </a:extLst>
          </p:cNvPr>
          <p:cNvSpPr txBox="1"/>
          <p:nvPr/>
        </p:nvSpPr>
        <p:spPr>
          <a:xfrm>
            <a:off x="7032104" y="5013176"/>
            <a:ext cx="989373" cy="307777"/>
          </a:xfrm>
          <a:prstGeom prst="rect">
            <a:avLst/>
          </a:prstGeom>
        </p:spPr>
        <p:txBody>
          <a:bodyPr vert="horz" wrap="none" lIns="0" tIns="0" rIns="0" bIns="0" rtlCol="0">
            <a:spAutoFit/>
          </a:bodyPr>
          <a:lstStyle/>
          <a:p>
            <a:pPr marL="4763"/>
            <a:r>
              <a:rPr lang="nb-NO" sz="2000" dirty="0"/>
              <a:t>Langhus</a:t>
            </a:r>
          </a:p>
        </p:txBody>
      </p:sp>
      <p:graphicFrame>
        <p:nvGraphicFramePr>
          <p:cNvPr id="37" name="Chart 8">
            <a:extLst>
              <a:ext uri="{FF2B5EF4-FFF2-40B4-BE49-F238E27FC236}">
                <a16:creationId xmlns:a16="http://schemas.microsoft.com/office/drawing/2014/main" id="{E95FF085-D5E8-43E3-A7A4-208C231F2357}"/>
              </a:ext>
            </a:extLst>
          </p:cNvPr>
          <p:cNvGraphicFramePr>
            <a:graphicFrameLocks noChangeAspect="1"/>
          </p:cNvGraphicFramePr>
          <p:nvPr>
            <p:extLst>
              <p:ext uri="{D42A27DB-BD31-4B8C-83A1-F6EECF244321}">
                <p14:modId xmlns:p14="http://schemas.microsoft.com/office/powerpoint/2010/main" val="1864296159"/>
              </p:ext>
            </p:extLst>
          </p:nvPr>
        </p:nvGraphicFramePr>
        <p:xfrm>
          <a:off x="4644483" y="1498918"/>
          <a:ext cx="1872037" cy="1586301"/>
        </p:xfrm>
        <a:graphic>
          <a:graphicData uri="http://schemas.openxmlformats.org/drawingml/2006/chart">
            <c:chart xmlns:c="http://schemas.openxmlformats.org/drawingml/2006/chart" xmlns:r="http://schemas.openxmlformats.org/officeDocument/2006/relationships" r:id="rId6"/>
          </a:graphicData>
        </a:graphic>
      </p:graphicFrame>
      <p:sp>
        <p:nvSpPr>
          <p:cNvPr id="3" name="TekstSylinder 2">
            <a:extLst>
              <a:ext uri="{FF2B5EF4-FFF2-40B4-BE49-F238E27FC236}">
                <a16:creationId xmlns:a16="http://schemas.microsoft.com/office/drawing/2014/main" id="{EDB93489-486B-496F-B6DC-350B5BF5BA7F}"/>
              </a:ext>
            </a:extLst>
          </p:cNvPr>
          <p:cNvSpPr txBox="1"/>
          <p:nvPr/>
        </p:nvSpPr>
        <p:spPr>
          <a:xfrm>
            <a:off x="407368" y="692696"/>
            <a:ext cx="2592288" cy="523220"/>
          </a:xfrm>
          <a:prstGeom prst="rect">
            <a:avLst/>
          </a:prstGeom>
          <a:noFill/>
        </p:spPr>
        <p:txBody>
          <a:bodyPr wrap="square" rtlCol="0">
            <a:spAutoFit/>
          </a:bodyPr>
          <a:lstStyle/>
          <a:p>
            <a:r>
              <a:rPr lang="en-GB" sz="2800" dirty="0">
                <a:latin typeface="+mj-lt"/>
              </a:rPr>
              <a:t>Område</a:t>
            </a:r>
          </a:p>
        </p:txBody>
      </p:sp>
      <p:sp>
        <p:nvSpPr>
          <p:cNvPr id="18" name="Text Placeholder 9">
            <a:extLst>
              <a:ext uri="{FF2B5EF4-FFF2-40B4-BE49-F238E27FC236}">
                <a16:creationId xmlns:a16="http://schemas.microsoft.com/office/drawing/2014/main" id="{FA20F131-9118-43AB-A2B1-338DE1F8EFDF}"/>
              </a:ext>
            </a:extLst>
          </p:cNvPr>
          <p:cNvSpPr txBox="1">
            <a:spLocks/>
          </p:cNvSpPr>
          <p:nvPr/>
        </p:nvSpPr>
        <p:spPr>
          <a:xfrm>
            <a:off x="393223" y="6066933"/>
            <a:ext cx="11463417" cy="215444"/>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 typeface="Arial" panose="020B0604020202020204" pitchFamily="34" charset="0"/>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dirty="0"/>
              <a:t>Base: Alle, n=602</a:t>
            </a:r>
          </a:p>
        </p:txBody>
      </p:sp>
    </p:spTree>
    <p:extLst>
      <p:ext uri="{BB962C8B-B14F-4D97-AF65-F5344CB8AC3E}">
        <p14:creationId xmlns:p14="http://schemas.microsoft.com/office/powerpoint/2010/main" val="62221296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29</a:t>
            </a:fld>
            <a:r>
              <a:rPr lang="nb-NO" noProof="0" dirty="0"/>
              <a:t> ‒ </a:t>
            </a:r>
          </a:p>
        </p:txBody>
      </p:sp>
      <p:sp>
        <p:nvSpPr>
          <p:cNvPr id="7" name="Title 6">
            <a:extLst>
              <a:ext uri="{FF2B5EF4-FFF2-40B4-BE49-F238E27FC236}">
                <a16:creationId xmlns:a16="http://schemas.microsoft.com/office/drawing/2014/main" id="{AFAB9416-0A9F-47EF-B35A-71A6C2DFFEB4}"/>
              </a:ext>
            </a:extLst>
          </p:cNvPr>
          <p:cNvSpPr>
            <a:spLocks noGrp="1"/>
          </p:cNvSpPr>
          <p:nvPr>
            <p:ph type="title"/>
          </p:nvPr>
        </p:nvSpPr>
        <p:spPr>
          <a:xfrm>
            <a:off x="404786" y="382816"/>
            <a:ext cx="11382428" cy="313932"/>
          </a:xfrm>
        </p:spPr>
        <p:txBody>
          <a:bodyPr/>
          <a:lstStyle/>
          <a:p>
            <a:r>
              <a:rPr lang="nb-NO" sz="1600" dirty="0">
                <a:solidFill>
                  <a:schemeClr val="bg1">
                    <a:lumMod val="75000"/>
                  </a:schemeClr>
                </a:solidFill>
              </a:rPr>
              <a:t>Om utvalget</a:t>
            </a:r>
          </a:p>
        </p:txBody>
      </p:sp>
      <p:graphicFrame>
        <p:nvGraphicFramePr>
          <p:cNvPr id="6" name="Chart 3">
            <a:extLst>
              <a:ext uri="{FF2B5EF4-FFF2-40B4-BE49-F238E27FC236}">
                <a16:creationId xmlns:a16="http://schemas.microsoft.com/office/drawing/2014/main" id="{E3D1AE2D-B9DA-4D78-89B5-9B88EB4E79BF}"/>
              </a:ext>
            </a:extLst>
          </p:cNvPr>
          <p:cNvGraphicFramePr/>
          <p:nvPr>
            <p:extLst>
              <p:ext uri="{D42A27DB-BD31-4B8C-83A1-F6EECF244321}">
                <p14:modId xmlns:p14="http://schemas.microsoft.com/office/powerpoint/2010/main" val="1219617068"/>
              </p:ext>
            </p:extLst>
          </p:nvPr>
        </p:nvGraphicFramePr>
        <p:xfrm>
          <a:off x="3935760" y="908720"/>
          <a:ext cx="4895773" cy="4508427"/>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4">
            <a:extLst>
              <a:ext uri="{FF2B5EF4-FFF2-40B4-BE49-F238E27FC236}">
                <a16:creationId xmlns:a16="http://schemas.microsoft.com/office/drawing/2014/main" id="{511B3D0A-BA33-44DB-8927-282D58942D00}"/>
              </a:ext>
            </a:extLst>
          </p:cNvPr>
          <p:cNvSpPr txBox="1"/>
          <p:nvPr/>
        </p:nvSpPr>
        <p:spPr>
          <a:xfrm>
            <a:off x="4943872" y="806515"/>
            <a:ext cx="702642" cy="246221"/>
          </a:xfrm>
          <a:prstGeom prst="rect">
            <a:avLst/>
          </a:prstGeom>
        </p:spPr>
        <p:txBody>
          <a:bodyPr vert="horz" wrap="square" lIns="0" tIns="0" rIns="0" bIns="0" rtlCol="0">
            <a:spAutoFit/>
          </a:bodyPr>
          <a:lstStyle/>
          <a:p>
            <a:pPr marL="4763"/>
            <a:r>
              <a:rPr lang="nb-NO" sz="1600" dirty="0"/>
              <a:t>Mann</a:t>
            </a:r>
          </a:p>
        </p:txBody>
      </p:sp>
      <p:sp>
        <p:nvSpPr>
          <p:cNvPr id="11" name="TextBox 5">
            <a:extLst>
              <a:ext uri="{FF2B5EF4-FFF2-40B4-BE49-F238E27FC236}">
                <a16:creationId xmlns:a16="http://schemas.microsoft.com/office/drawing/2014/main" id="{2B7651E8-33FE-41E1-8ABF-847F3AA55067}"/>
              </a:ext>
            </a:extLst>
          </p:cNvPr>
          <p:cNvSpPr txBox="1"/>
          <p:nvPr/>
        </p:nvSpPr>
        <p:spPr>
          <a:xfrm>
            <a:off x="7104112" y="784416"/>
            <a:ext cx="797975" cy="246221"/>
          </a:xfrm>
          <a:prstGeom prst="rect">
            <a:avLst/>
          </a:prstGeom>
        </p:spPr>
        <p:txBody>
          <a:bodyPr vert="horz" wrap="square" lIns="0" tIns="0" rIns="0" bIns="0" rtlCol="0">
            <a:spAutoFit/>
          </a:bodyPr>
          <a:lstStyle/>
          <a:p>
            <a:pPr marL="4763"/>
            <a:r>
              <a:rPr lang="nb-NO" sz="1600" dirty="0"/>
              <a:t>Kvinne</a:t>
            </a:r>
          </a:p>
        </p:txBody>
      </p:sp>
      <p:sp>
        <p:nvSpPr>
          <p:cNvPr id="8" name="TekstSylinder 7">
            <a:extLst>
              <a:ext uri="{FF2B5EF4-FFF2-40B4-BE49-F238E27FC236}">
                <a16:creationId xmlns:a16="http://schemas.microsoft.com/office/drawing/2014/main" id="{8296623A-43C9-4E07-8887-D583D15DB0F9}"/>
              </a:ext>
            </a:extLst>
          </p:cNvPr>
          <p:cNvSpPr txBox="1"/>
          <p:nvPr/>
        </p:nvSpPr>
        <p:spPr>
          <a:xfrm>
            <a:off x="407368" y="692696"/>
            <a:ext cx="2592288" cy="523220"/>
          </a:xfrm>
          <a:prstGeom prst="rect">
            <a:avLst/>
          </a:prstGeom>
          <a:noFill/>
        </p:spPr>
        <p:txBody>
          <a:bodyPr wrap="square" rtlCol="0">
            <a:spAutoFit/>
          </a:bodyPr>
          <a:lstStyle/>
          <a:p>
            <a:r>
              <a:rPr lang="en-GB" sz="2800" dirty="0">
                <a:latin typeface="+mj-lt"/>
              </a:rPr>
              <a:t>Kjønn</a:t>
            </a:r>
          </a:p>
        </p:txBody>
      </p:sp>
      <p:sp>
        <p:nvSpPr>
          <p:cNvPr id="10" name="Text Placeholder 9">
            <a:extLst>
              <a:ext uri="{FF2B5EF4-FFF2-40B4-BE49-F238E27FC236}">
                <a16:creationId xmlns:a16="http://schemas.microsoft.com/office/drawing/2014/main" id="{62222A75-7264-41F5-BFC3-F872DD5D7EBC}"/>
              </a:ext>
            </a:extLst>
          </p:cNvPr>
          <p:cNvSpPr txBox="1">
            <a:spLocks/>
          </p:cNvSpPr>
          <p:nvPr/>
        </p:nvSpPr>
        <p:spPr>
          <a:xfrm>
            <a:off x="393223" y="6066933"/>
            <a:ext cx="11463417" cy="215444"/>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 typeface="Arial" panose="020B0604020202020204" pitchFamily="34" charset="0"/>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dirty="0"/>
              <a:t>Base: Alle, n=602</a:t>
            </a:r>
          </a:p>
        </p:txBody>
      </p:sp>
    </p:spTree>
    <p:extLst>
      <p:ext uri="{BB962C8B-B14F-4D97-AF65-F5344CB8AC3E}">
        <p14:creationId xmlns:p14="http://schemas.microsoft.com/office/powerpoint/2010/main" val="713311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5">
            <a:extLst>
              <a:ext uri="{FF2B5EF4-FFF2-40B4-BE49-F238E27FC236}">
                <a16:creationId xmlns:a16="http://schemas.microsoft.com/office/drawing/2014/main" id="{7FB2093A-F383-4466-9258-5E671A1180F1}"/>
              </a:ext>
            </a:extLst>
          </p:cNvPr>
          <p:cNvSpPr>
            <a:spLocks noGrp="1"/>
          </p:cNvSpPr>
          <p:nvPr>
            <p:ph type="body" sz="quarter" idx="13"/>
          </p:nvPr>
        </p:nvSpPr>
        <p:spPr>
          <a:xfrm>
            <a:off x="421699" y="1124744"/>
            <a:ext cx="3121480" cy="338554"/>
          </a:xfrm>
        </p:spPr>
        <p:txBody>
          <a:bodyPr/>
          <a:lstStyle/>
          <a:p>
            <a:r>
              <a:rPr lang="nb-NO" dirty="0">
                <a:solidFill>
                  <a:schemeClr val="tx2"/>
                </a:solidFill>
              </a:rPr>
              <a:t>Formål</a:t>
            </a:r>
          </a:p>
        </p:txBody>
      </p:sp>
      <p:sp>
        <p:nvSpPr>
          <p:cNvPr id="7" name="Espace réservé du texte 6">
            <a:extLst>
              <a:ext uri="{FF2B5EF4-FFF2-40B4-BE49-F238E27FC236}">
                <a16:creationId xmlns:a16="http://schemas.microsoft.com/office/drawing/2014/main" id="{75ECBB83-D593-4438-8540-CC3A314E36D1}"/>
              </a:ext>
            </a:extLst>
          </p:cNvPr>
          <p:cNvSpPr>
            <a:spLocks noGrp="1"/>
          </p:cNvSpPr>
          <p:nvPr>
            <p:ph type="body" sz="quarter" idx="14"/>
          </p:nvPr>
        </p:nvSpPr>
        <p:spPr>
          <a:xfrm>
            <a:off x="4439816" y="1124744"/>
            <a:ext cx="3121480" cy="338554"/>
          </a:xfrm>
        </p:spPr>
        <p:txBody>
          <a:bodyPr/>
          <a:lstStyle/>
          <a:p>
            <a:r>
              <a:rPr lang="nb-NO" dirty="0">
                <a:solidFill>
                  <a:schemeClr val="bg2"/>
                </a:solidFill>
              </a:rPr>
              <a:t>Metode</a:t>
            </a:r>
          </a:p>
        </p:txBody>
      </p:sp>
      <p:sp>
        <p:nvSpPr>
          <p:cNvPr id="8" name="Espace réservé du texte 7">
            <a:extLst>
              <a:ext uri="{FF2B5EF4-FFF2-40B4-BE49-F238E27FC236}">
                <a16:creationId xmlns:a16="http://schemas.microsoft.com/office/drawing/2014/main" id="{337BF237-2086-43FF-8B2C-CCBEF3DA611B}"/>
              </a:ext>
            </a:extLst>
          </p:cNvPr>
          <p:cNvSpPr>
            <a:spLocks noGrp="1"/>
          </p:cNvSpPr>
          <p:nvPr>
            <p:ph type="body" sz="quarter" idx="15"/>
          </p:nvPr>
        </p:nvSpPr>
        <p:spPr>
          <a:xfrm>
            <a:off x="8328248" y="1124744"/>
            <a:ext cx="3121480" cy="338554"/>
          </a:xfrm>
        </p:spPr>
        <p:txBody>
          <a:bodyPr/>
          <a:lstStyle/>
          <a:p>
            <a:r>
              <a:rPr lang="nb-NO" dirty="0">
                <a:solidFill>
                  <a:schemeClr val="tx2">
                    <a:lumMod val="50000"/>
                  </a:schemeClr>
                </a:solidFill>
              </a:rPr>
              <a:t>RAPPORTEN</a:t>
            </a:r>
          </a:p>
        </p:txBody>
      </p:sp>
      <p:sp>
        <p:nvSpPr>
          <p:cNvPr id="9" name="Espace réservé du texte 8">
            <a:extLst>
              <a:ext uri="{FF2B5EF4-FFF2-40B4-BE49-F238E27FC236}">
                <a16:creationId xmlns:a16="http://schemas.microsoft.com/office/drawing/2014/main" id="{A6264480-E81B-479F-A3FD-9CA66401709A}"/>
              </a:ext>
            </a:extLst>
          </p:cNvPr>
          <p:cNvSpPr>
            <a:spLocks noGrp="1"/>
          </p:cNvSpPr>
          <p:nvPr>
            <p:ph type="body" sz="quarter" idx="16"/>
          </p:nvPr>
        </p:nvSpPr>
        <p:spPr>
          <a:xfrm>
            <a:off x="445030" y="1412776"/>
            <a:ext cx="3562738" cy="5093702"/>
          </a:xfrm>
        </p:spPr>
        <p:txBody>
          <a:bodyPr/>
          <a:lstStyle/>
          <a:p>
            <a:pPr marL="4763">
              <a:spcAft>
                <a:spcPts val="600"/>
              </a:spcAft>
              <a:buClr>
                <a:srgbClr val="0097BE"/>
              </a:buClr>
              <a:buSzPct val="109000"/>
            </a:pPr>
            <a:r>
              <a:rPr lang="nb-NO" sz="1250" dirty="0">
                <a:cs typeface="Calibri" panose="020F0502020204030204" pitchFamily="34" charset="0"/>
              </a:rPr>
              <a:t>I 2019 kartla Ipsos forventninger til hvordan det ville være å leve i nærheten av Politiets nasjonale beredskapssenter (PNB) blant innbyggere bosatt i nærområdene Bjørndal, Tårnåsen og Sofiemyr. Undersøkelsen ble gjennomført på oppdrag for Politidirektoratet (POD). </a:t>
            </a:r>
          </a:p>
          <a:p>
            <a:pPr marL="4763">
              <a:spcAft>
                <a:spcPts val="600"/>
              </a:spcAft>
              <a:buClr>
                <a:srgbClr val="0097BE"/>
              </a:buClr>
              <a:buSzPct val="109000"/>
            </a:pPr>
            <a:r>
              <a:rPr lang="nb-NO" sz="1250" dirty="0">
                <a:cs typeface="Calibri" panose="020F0502020204030204" pitchFamily="34" charset="0"/>
              </a:rPr>
              <a:t>Oslo politidistrikt (OPD) / Felles enhet for nasjonale bistandsressurser (FNB) og Politiets fellestjenester (PFT) har gitt Ipsos i oppdrag å gjennomføre en oppfølgingsundersøkelse, hvor formålet har vært å kartlegge befolkningens opplevelse av å bo i nærområdet til beredskapssenteret etter ca. ett års drift av anlegget. I årets undersøkelse er også innbyggere bosatt i Langhus og Oppegård inkludert.</a:t>
            </a:r>
            <a:endParaRPr lang="nb-NO" sz="1250" dirty="0">
              <a:solidFill>
                <a:schemeClr val="tx1"/>
              </a:solidFill>
              <a:cs typeface="Calibri" panose="020F0502020204030204" pitchFamily="34" charset="0"/>
            </a:endParaRPr>
          </a:p>
          <a:p>
            <a:pPr marL="4763">
              <a:buClr>
                <a:srgbClr val="0097BE"/>
              </a:buClr>
              <a:buSzPct val="109000"/>
            </a:pPr>
            <a:r>
              <a:rPr lang="nb-NO" sz="1250" dirty="0">
                <a:solidFill>
                  <a:schemeClr val="tx1"/>
                </a:solidFill>
                <a:cs typeface="Calibri" panose="020F0502020204030204" pitchFamily="34" charset="0"/>
              </a:rPr>
              <a:t>For å tilrettelegge for å nå flest mulig av befolkningen i de aktuelle områdene har det vært mulig å gjennomføre undersøkelsen på norsk, engelsk, polsk, urdu og somali ved bruk av oversatte skjemaer og tospråklige intervjuere.</a:t>
            </a:r>
          </a:p>
          <a:p>
            <a:pPr marL="4763">
              <a:buClr>
                <a:srgbClr val="0097BE"/>
              </a:buClr>
              <a:buSzPct val="109000"/>
            </a:pPr>
            <a:endParaRPr lang="nb-NO" sz="1200" dirty="0">
              <a:solidFill>
                <a:schemeClr val="tx1"/>
              </a:solidFill>
            </a:endParaRPr>
          </a:p>
          <a:p>
            <a:pPr marL="4763">
              <a:buClr>
                <a:srgbClr val="0097BE"/>
              </a:buClr>
              <a:buSzPct val="109000"/>
            </a:pPr>
            <a:r>
              <a:rPr lang="nb-NO" sz="1200" dirty="0">
                <a:solidFill>
                  <a:schemeClr val="tx1"/>
                </a:solidFill>
              </a:rPr>
              <a:t> </a:t>
            </a:r>
          </a:p>
          <a:p>
            <a:endParaRPr lang="nb-NO" dirty="0"/>
          </a:p>
        </p:txBody>
      </p:sp>
      <p:sp>
        <p:nvSpPr>
          <p:cNvPr id="10" name="Espace réservé du texte 9">
            <a:extLst>
              <a:ext uri="{FF2B5EF4-FFF2-40B4-BE49-F238E27FC236}">
                <a16:creationId xmlns:a16="http://schemas.microsoft.com/office/drawing/2014/main" id="{409E3CD3-81D1-4C63-83E0-B27457C420C1}"/>
              </a:ext>
            </a:extLst>
          </p:cNvPr>
          <p:cNvSpPr>
            <a:spLocks noGrp="1"/>
          </p:cNvSpPr>
          <p:nvPr>
            <p:ph type="body" sz="quarter" idx="17"/>
          </p:nvPr>
        </p:nvSpPr>
        <p:spPr>
          <a:xfrm>
            <a:off x="4439816" y="1412776"/>
            <a:ext cx="3528391" cy="5439951"/>
          </a:xfrm>
        </p:spPr>
        <p:txBody>
          <a:bodyPr/>
          <a:lstStyle/>
          <a:p>
            <a:pPr marL="4763">
              <a:spcAft>
                <a:spcPts val="600"/>
              </a:spcAft>
              <a:buClr>
                <a:srgbClr val="0097BE"/>
              </a:buClr>
              <a:buSzPct val="109000"/>
            </a:pPr>
            <a:r>
              <a:rPr lang="nb-NO" sz="1250" dirty="0">
                <a:cs typeface="Calibri" panose="020F0502020204030204" pitchFamily="34" charset="0"/>
              </a:rPr>
              <a:t>Målgruppen for undersøkelsen er personer som bor i områdene Bjørndal, Tårnåsen, Sofiemyr, Langhus og Oppegård, og som er 18 år og eldre. Undersøkelsen er gjennomført i perioden 28. februar til 17. mars 2022 via telefonintervjuer (CATI), der utvalget er trukket fra Bisnodes befolkningsbase. </a:t>
            </a:r>
          </a:p>
          <a:p>
            <a:pPr marL="4763">
              <a:buClr>
                <a:srgbClr val="0097BE"/>
              </a:buClr>
              <a:buSzPct val="109000"/>
            </a:pPr>
            <a:r>
              <a:rPr lang="nb-NO" sz="1250" dirty="0">
                <a:cs typeface="Calibri" panose="020F0502020204030204" pitchFamily="34" charset="0"/>
              </a:rPr>
              <a:t>Det er gjennomført intervju med 602 personer, med følgende fordeling per område;</a:t>
            </a:r>
          </a:p>
          <a:p>
            <a:pPr marL="290513" indent="-285750">
              <a:buSzPct val="109000"/>
              <a:buFont typeface="Arial" panose="020B0604020202020204" pitchFamily="34" charset="0"/>
              <a:buChar char="•"/>
            </a:pPr>
            <a:r>
              <a:rPr lang="nb-NO" sz="1250" dirty="0">
                <a:cs typeface="Calibri" panose="020F0502020204030204" pitchFamily="34" charset="0"/>
              </a:rPr>
              <a:t>Bjørndal: 168</a:t>
            </a:r>
          </a:p>
          <a:p>
            <a:pPr marL="290513" indent="-285750">
              <a:buSzPct val="109000"/>
              <a:buFont typeface="Arial" panose="020B0604020202020204" pitchFamily="34" charset="0"/>
              <a:buChar char="•"/>
            </a:pPr>
            <a:r>
              <a:rPr lang="nb-NO" sz="1250" dirty="0">
                <a:cs typeface="Calibri" panose="020F0502020204030204" pitchFamily="34" charset="0"/>
              </a:rPr>
              <a:t>Tårnåsen: 105</a:t>
            </a:r>
          </a:p>
          <a:p>
            <a:pPr marL="290513" indent="-285750">
              <a:buSzPct val="109000"/>
              <a:buFont typeface="Arial" panose="020B0604020202020204" pitchFamily="34" charset="0"/>
              <a:buChar char="•"/>
            </a:pPr>
            <a:r>
              <a:rPr lang="nb-NO" sz="1250" dirty="0">
                <a:cs typeface="Calibri" panose="020F0502020204030204" pitchFamily="34" charset="0"/>
              </a:rPr>
              <a:t>Sofiemyr: 113</a:t>
            </a:r>
          </a:p>
          <a:p>
            <a:pPr marL="290513" indent="-285750">
              <a:buSzPct val="109000"/>
              <a:buFont typeface="Arial" panose="020B0604020202020204" pitchFamily="34" charset="0"/>
              <a:buChar char="•"/>
            </a:pPr>
            <a:r>
              <a:rPr lang="nb-NO" sz="1250" dirty="0">
                <a:cs typeface="Calibri" panose="020F0502020204030204" pitchFamily="34" charset="0"/>
              </a:rPr>
              <a:t>Langhus: 108</a:t>
            </a:r>
          </a:p>
          <a:p>
            <a:pPr marL="290513" indent="-285750">
              <a:spcAft>
                <a:spcPts val="600"/>
              </a:spcAft>
              <a:buSzPct val="109000"/>
              <a:buFont typeface="Arial" panose="020B0604020202020204" pitchFamily="34" charset="0"/>
              <a:buChar char="•"/>
            </a:pPr>
            <a:r>
              <a:rPr lang="nb-NO" sz="1250" dirty="0">
                <a:cs typeface="Calibri" panose="020F0502020204030204" pitchFamily="34" charset="0"/>
              </a:rPr>
              <a:t>Oppegård: 108</a:t>
            </a:r>
          </a:p>
          <a:p>
            <a:pPr marL="4763">
              <a:spcAft>
                <a:spcPts val="600"/>
              </a:spcAft>
              <a:buClr>
                <a:srgbClr val="0097BE"/>
              </a:buClr>
              <a:buSzPct val="109000"/>
            </a:pPr>
            <a:r>
              <a:rPr lang="nb-NO" sz="1250" dirty="0">
                <a:cs typeface="Calibri" panose="020F0502020204030204" pitchFamily="34" charset="0"/>
              </a:rPr>
              <a:t>Utvalget er av statistiske hensyn vektet i henhold til alderssammensetning og befolkningsstørrelse i de aktuelle områdene. </a:t>
            </a:r>
          </a:p>
          <a:p>
            <a:pPr marL="4763">
              <a:buClr>
                <a:srgbClr val="0097BE"/>
              </a:buClr>
              <a:buSzPct val="109000"/>
            </a:pPr>
            <a:r>
              <a:rPr lang="nb-NO" sz="1250" dirty="0">
                <a:cs typeface="Calibri" panose="020F0502020204030204" pitchFamily="34" charset="0"/>
              </a:rPr>
              <a:t>Utvalgsundersøkelser er alltid beheftet med usikkerhet. Feilmarginen varierer med konfidensintervall, antall intervjuer og svarfordelingen på det enkelte spørsmål. Med rundt 600 spurte og et konfidensintervall på 95 % ligger feilmarginene for totalutvalget på rundt  +/- 1,8–4,1 prosentpoeng. Feilmarginen for tall i undergrupper er større. </a:t>
            </a:r>
          </a:p>
        </p:txBody>
      </p:sp>
      <p:sp>
        <p:nvSpPr>
          <p:cNvPr id="11" name="Espace réservé du texte 10">
            <a:extLst>
              <a:ext uri="{FF2B5EF4-FFF2-40B4-BE49-F238E27FC236}">
                <a16:creationId xmlns:a16="http://schemas.microsoft.com/office/drawing/2014/main" id="{96092BC2-EDC5-48C7-AC59-CA9FB9ECF57B}"/>
              </a:ext>
            </a:extLst>
          </p:cNvPr>
          <p:cNvSpPr>
            <a:spLocks noGrp="1"/>
          </p:cNvSpPr>
          <p:nvPr>
            <p:ph type="body" sz="quarter" idx="18"/>
          </p:nvPr>
        </p:nvSpPr>
        <p:spPr>
          <a:xfrm>
            <a:off x="8328248" y="1412776"/>
            <a:ext cx="3528392" cy="3400931"/>
          </a:xfrm>
        </p:spPr>
        <p:txBody>
          <a:bodyPr/>
          <a:lstStyle/>
          <a:p>
            <a:pPr marL="4763">
              <a:spcAft>
                <a:spcPts val="600"/>
              </a:spcAft>
              <a:buClr>
                <a:srgbClr val="0097BE"/>
              </a:buClr>
              <a:buSzPct val="109000"/>
            </a:pPr>
            <a:r>
              <a:rPr lang="nb-NO" sz="1250" dirty="0">
                <a:cs typeface="Calibri" panose="020F0502020204030204" pitchFamily="34" charset="0"/>
              </a:rPr>
              <a:t>Underveis i rapporten illustreres de viktigste funnene fra undersøkelsen grafisk med kommentarer. Der det er relevant kommenteres funn med henblikk på resultatene fra undersøkelsen gjennomført i 2019. </a:t>
            </a:r>
          </a:p>
          <a:p>
            <a:pPr marL="4763">
              <a:spcAft>
                <a:spcPts val="600"/>
              </a:spcAft>
              <a:buClr>
                <a:srgbClr val="0097BE"/>
              </a:buClr>
              <a:buSzPct val="109000"/>
            </a:pPr>
            <a:r>
              <a:rPr lang="nb-NO" sz="1250" dirty="0">
                <a:cs typeface="Calibri" panose="020F0502020204030204" pitchFamily="34" charset="0"/>
              </a:rPr>
              <a:t>Grafene presenterer i hovedsak resultater på totalnivå, mens variasjoner mellom undergrupper kommenteres der det er signifikante forskjeller. Det vektlegges særlig variasjoner mellom de fem geografiske områdene som er representert i undersøkelsen.</a:t>
            </a:r>
          </a:p>
          <a:p>
            <a:pPr marL="4763">
              <a:spcAft>
                <a:spcPts val="600"/>
              </a:spcAft>
              <a:buClr>
                <a:srgbClr val="0097BE"/>
              </a:buClr>
              <a:buSzPct val="109000"/>
            </a:pPr>
            <a:r>
              <a:rPr lang="nb-NO" sz="1250" dirty="0">
                <a:cs typeface="Calibri" panose="020F0502020204030204" pitchFamily="34" charset="0"/>
              </a:rPr>
              <a:t>Resultatene er oppgitt i prosent og tolkes med bakgrunn i kji-kvadrattesting som tester gjennomsnittet i en undergruppe mot gjennomsnittet av alle spurte med et signifikansnivå på 5 % (95 %-konfidensintervall). </a:t>
            </a:r>
            <a:endParaRPr lang="nb-NO" sz="1250" dirty="0">
              <a:latin typeface="Calibri" panose="020F0502020204030204" pitchFamily="34" charset="0"/>
              <a:cs typeface="Calibri" panose="020F0502020204030204" pitchFamily="34" charset="0"/>
            </a:endParaRPr>
          </a:p>
        </p:txBody>
      </p:sp>
      <p:sp>
        <p:nvSpPr>
          <p:cNvPr id="2" name="Espace réservé du numéro de diapositive 1">
            <a:extLst>
              <a:ext uri="{FF2B5EF4-FFF2-40B4-BE49-F238E27FC236}">
                <a16:creationId xmlns:a16="http://schemas.microsoft.com/office/drawing/2014/main" id="{B286D42A-FE70-4262-AE08-390F242402F6}"/>
              </a:ext>
            </a:extLst>
          </p:cNvPr>
          <p:cNvSpPr>
            <a:spLocks noGrp="1"/>
          </p:cNvSpPr>
          <p:nvPr>
            <p:ph type="sldNum" sz="quarter" idx="20"/>
          </p:nvPr>
        </p:nvSpPr>
        <p:spPr/>
        <p:txBody>
          <a:bodyPr/>
          <a:lstStyle/>
          <a:p>
            <a:fld id="{D61AABEC-672F-4B68-B914-690DA978312C}" type="slidenum">
              <a:rPr lang="nb-NO" smtClean="0"/>
              <a:pPr/>
              <a:t>3</a:t>
            </a:fld>
            <a:r>
              <a:rPr lang="nb-NO" dirty="0"/>
              <a:t> ‒ </a:t>
            </a:r>
          </a:p>
        </p:txBody>
      </p:sp>
      <p:sp>
        <p:nvSpPr>
          <p:cNvPr id="5" name="Titre 4">
            <a:extLst>
              <a:ext uri="{FF2B5EF4-FFF2-40B4-BE49-F238E27FC236}">
                <a16:creationId xmlns:a16="http://schemas.microsoft.com/office/drawing/2014/main" id="{F6F63A45-B2C8-4319-9958-FF99EA51292F}"/>
              </a:ext>
            </a:extLst>
          </p:cNvPr>
          <p:cNvSpPr>
            <a:spLocks noGrp="1"/>
          </p:cNvSpPr>
          <p:nvPr>
            <p:ph type="title"/>
          </p:nvPr>
        </p:nvSpPr>
        <p:spPr/>
        <p:txBody>
          <a:bodyPr/>
          <a:lstStyle/>
          <a:p>
            <a:r>
              <a:rPr lang="nb-NO" dirty="0">
                <a:solidFill>
                  <a:schemeClr val="bg1">
                    <a:lumMod val="75000"/>
                  </a:schemeClr>
                </a:solidFill>
              </a:rPr>
              <a:t>Om undersøkelsen</a:t>
            </a:r>
          </a:p>
        </p:txBody>
      </p:sp>
    </p:spTree>
    <p:extLst>
      <p:ext uri="{BB962C8B-B14F-4D97-AF65-F5344CB8AC3E}">
        <p14:creationId xmlns:p14="http://schemas.microsoft.com/office/powerpoint/2010/main" val="165671495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30</a:t>
            </a:fld>
            <a:r>
              <a:rPr lang="nb-NO" noProof="0" dirty="0"/>
              <a:t> ‒ </a:t>
            </a:r>
          </a:p>
        </p:txBody>
      </p:sp>
      <p:sp>
        <p:nvSpPr>
          <p:cNvPr id="7" name="Title 6">
            <a:extLst>
              <a:ext uri="{FF2B5EF4-FFF2-40B4-BE49-F238E27FC236}">
                <a16:creationId xmlns:a16="http://schemas.microsoft.com/office/drawing/2014/main" id="{AFAB9416-0A9F-47EF-B35A-71A6C2DFFEB4}"/>
              </a:ext>
            </a:extLst>
          </p:cNvPr>
          <p:cNvSpPr>
            <a:spLocks noGrp="1"/>
          </p:cNvSpPr>
          <p:nvPr>
            <p:ph type="title"/>
          </p:nvPr>
        </p:nvSpPr>
        <p:spPr>
          <a:xfrm>
            <a:off x="404786" y="382816"/>
            <a:ext cx="11382428" cy="313932"/>
          </a:xfrm>
        </p:spPr>
        <p:txBody>
          <a:bodyPr/>
          <a:lstStyle/>
          <a:p>
            <a:r>
              <a:rPr lang="nb-NO" sz="1600" dirty="0">
                <a:solidFill>
                  <a:schemeClr val="bg1">
                    <a:lumMod val="75000"/>
                  </a:schemeClr>
                </a:solidFill>
              </a:rPr>
              <a:t>Om utvalget</a:t>
            </a:r>
          </a:p>
        </p:txBody>
      </p:sp>
      <p:graphicFrame>
        <p:nvGraphicFramePr>
          <p:cNvPr id="6" name="Chart 3">
            <a:extLst>
              <a:ext uri="{FF2B5EF4-FFF2-40B4-BE49-F238E27FC236}">
                <a16:creationId xmlns:a16="http://schemas.microsoft.com/office/drawing/2014/main" id="{96F84D93-834D-4BA8-94B7-995C3AAE5B41}"/>
              </a:ext>
            </a:extLst>
          </p:cNvPr>
          <p:cNvGraphicFramePr/>
          <p:nvPr>
            <p:extLst>
              <p:ext uri="{D42A27DB-BD31-4B8C-83A1-F6EECF244321}">
                <p14:modId xmlns:p14="http://schemas.microsoft.com/office/powerpoint/2010/main" val="1274183757"/>
              </p:ext>
            </p:extLst>
          </p:nvPr>
        </p:nvGraphicFramePr>
        <p:xfrm>
          <a:off x="-240704" y="2204864"/>
          <a:ext cx="8826771" cy="3408448"/>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4">
            <a:extLst>
              <a:ext uri="{FF2B5EF4-FFF2-40B4-BE49-F238E27FC236}">
                <a16:creationId xmlns:a16="http://schemas.microsoft.com/office/drawing/2014/main" id="{F7B3AF6D-B91B-4E0B-9C66-B3A5DDB8B48A}"/>
              </a:ext>
            </a:extLst>
          </p:cNvPr>
          <p:cNvSpPr txBox="1"/>
          <p:nvPr/>
        </p:nvSpPr>
        <p:spPr>
          <a:xfrm>
            <a:off x="4439816" y="1556792"/>
            <a:ext cx="1566454" cy="246221"/>
          </a:xfrm>
          <a:prstGeom prst="rect">
            <a:avLst/>
          </a:prstGeom>
        </p:spPr>
        <p:txBody>
          <a:bodyPr vert="horz" wrap="none" lIns="0" tIns="0" rIns="0" bIns="0" rtlCol="0">
            <a:spAutoFit/>
          </a:bodyPr>
          <a:lstStyle/>
          <a:p>
            <a:pPr marL="4763"/>
            <a:r>
              <a:rPr lang="nb-NO" sz="1600" i="1" dirty="0"/>
              <a:t>Hva er din alder?</a:t>
            </a:r>
          </a:p>
        </p:txBody>
      </p:sp>
      <p:sp>
        <p:nvSpPr>
          <p:cNvPr id="10" name="TekstSylinder 9">
            <a:extLst>
              <a:ext uri="{FF2B5EF4-FFF2-40B4-BE49-F238E27FC236}">
                <a16:creationId xmlns:a16="http://schemas.microsoft.com/office/drawing/2014/main" id="{E86A180F-46EE-45DE-9B81-027192C207D1}"/>
              </a:ext>
            </a:extLst>
          </p:cNvPr>
          <p:cNvSpPr txBox="1"/>
          <p:nvPr/>
        </p:nvSpPr>
        <p:spPr>
          <a:xfrm>
            <a:off x="407368" y="692696"/>
            <a:ext cx="2592288" cy="523220"/>
          </a:xfrm>
          <a:prstGeom prst="rect">
            <a:avLst/>
          </a:prstGeom>
          <a:noFill/>
        </p:spPr>
        <p:txBody>
          <a:bodyPr wrap="square" rtlCol="0">
            <a:spAutoFit/>
          </a:bodyPr>
          <a:lstStyle/>
          <a:p>
            <a:r>
              <a:rPr lang="en-GB" sz="2800" dirty="0">
                <a:latin typeface="+mj-lt"/>
              </a:rPr>
              <a:t>Alder</a:t>
            </a:r>
          </a:p>
        </p:txBody>
      </p:sp>
      <p:sp>
        <p:nvSpPr>
          <p:cNvPr id="11" name="Text Placeholder 9">
            <a:extLst>
              <a:ext uri="{FF2B5EF4-FFF2-40B4-BE49-F238E27FC236}">
                <a16:creationId xmlns:a16="http://schemas.microsoft.com/office/drawing/2014/main" id="{F5B21DC8-6D8C-4FA2-9C62-2CCFF0D2421E}"/>
              </a:ext>
            </a:extLst>
          </p:cNvPr>
          <p:cNvSpPr txBox="1">
            <a:spLocks/>
          </p:cNvSpPr>
          <p:nvPr/>
        </p:nvSpPr>
        <p:spPr>
          <a:xfrm>
            <a:off x="393223" y="6066933"/>
            <a:ext cx="11463417" cy="215444"/>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 typeface="Arial" panose="020B0604020202020204" pitchFamily="34" charset="0"/>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dirty="0"/>
              <a:t>Base: Alle, n=602</a:t>
            </a:r>
          </a:p>
        </p:txBody>
      </p:sp>
    </p:spTree>
    <p:extLst>
      <p:ext uri="{BB962C8B-B14F-4D97-AF65-F5344CB8AC3E}">
        <p14:creationId xmlns:p14="http://schemas.microsoft.com/office/powerpoint/2010/main" val="9548989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31</a:t>
            </a:fld>
            <a:r>
              <a:rPr lang="nb-NO" noProof="0" dirty="0"/>
              <a:t> ‒ </a:t>
            </a:r>
          </a:p>
        </p:txBody>
      </p:sp>
      <p:sp>
        <p:nvSpPr>
          <p:cNvPr id="7" name="Title 6">
            <a:extLst>
              <a:ext uri="{FF2B5EF4-FFF2-40B4-BE49-F238E27FC236}">
                <a16:creationId xmlns:a16="http://schemas.microsoft.com/office/drawing/2014/main" id="{AFAB9416-0A9F-47EF-B35A-71A6C2DFFEB4}"/>
              </a:ext>
            </a:extLst>
          </p:cNvPr>
          <p:cNvSpPr>
            <a:spLocks noGrp="1"/>
          </p:cNvSpPr>
          <p:nvPr>
            <p:ph type="title"/>
          </p:nvPr>
        </p:nvSpPr>
        <p:spPr>
          <a:xfrm>
            <a:off x="404786" y="382816"/>
            <a:ext cx="11382428" cy="313932"/>
          </a:xfrm>
        </p:spPr>
        <p:txBody>
          <a:bodyPr/>
          <a:lstStyle/>
          <a:p>
            <a:r>
              <a:rPr lang="nb-NO" sz="1600" dirty="0">
                <a:solidFill>
                  <a:schemeClr val="bg1">
                    <a:lumMod val="75000"/>
                  </a:schemeClr>
                </a:solidFill>
              </a:rPr>
              <a:t>Om utvalget</a:t>
            </a:r>
          </a:p>
        </p:txBody>
      </p:sp>
      <p:graphicFrame>
        <p:nvGraphicFramePr>
          <p:cNvPr id="6" name="Chart 3">
            <a:extLst>
              <a:ext uri="{FF2B5EF4-FFF2-40B4-BE49-F238E27FC236}">
                <a16:creationId xmlns:a16="http://schemas.microsoft.com/office/drawing/2014/main" id="{7D14ECA8-9D42-436C-AB77-C5AF42E47FE7}"/>
              </a:ext>
            </a:extLst>
          </p:cNvPr>
          <p:cNvGraphicFramePr/>
          <p:nvPr>
            <p:extLst>
              <p:ext uri="{D42A27DB-BD31-4B8C-83A1-F6EECF244321}">
                <p14:modId xmlns:p14="http://schemas.microsoft.com/office/powerpoint/2010/main" val="3318763126"/>
              </p:ext>
            </p:extLst>
          </p:nvPr>
        </p:nvGraphicFramePr>
        <p:xfrm>
          <a:off x="839416" y="1988840"/>
          <a:ext cx="9289032" cy="3945434"/>
        </p:xfrm>
        <a:graphic>
          <a:graphicData uri="http://schemas.openxmlformats.org/drawingml/2006/chart">
            <c:chart xmlns:c="http://schemas.openxmlformats.org/drawingml/2006/chart" xmlns:r="http://schemas.openxmlformats.org/officeDocument/2006/relationships" r:id="rId2"/>
          </a:graphicData>
        </a:graphic>
      </p:graphicFrame>
      <p:sp>
        <p:nvSpPr>
          <p:cNvPr id="8" name="TekstSylinder 7">
            <a:extLst>
              <a:ext uri="{FF2B5EF4-FFF2-40B4-BE49-F238E27FC236}">
                <a16:creationId xmlns:a16="http://schemas.microsoft.com/office/drawing/2014/main" id="{B62E8540-E4F5-4F28-BA8F-060AD313CBD8}"/>
              </a:ext>
            </a:extLst>
          </p:cNvPr>
          <p:cNvSpPr txBox="1"/>
          <p:nvPr/>
        </p:nvSpPr>
        <p:spPr>
          <a:xfrm>
            <a:off x="407368" y="692696"/>
            <a:ext cx="5472608" cy="523220"/>
          </a:xfrm>
          <a:prstGeom prst="rect">
            <a:avLst/>
          </a:prstGeom>
          <a:noFill/>
        </p:spPr>
        <p:txBody>
          <a:bodyPr wrap="square" rtlCol="0">
            <a:spAutoFit/>
          </a:bodyPr>
          <a:lstStyle/>
          <a:p>
            <a:r>
              <a:rPr lang="en-GB" sz="2800" dirty="0">
                <a:latin typeface="+mj-lt"/>
              </a:rPr>
              <a:t>Hovedaktivitet på dagtid</a:t>
            </a:r>
          </a:p>
        </p:txBody>
      </p:sp>
      <p:sp>
        <p:nvSpPr>
          <p:cNvPr id="9" name="TekstSylinder 8">
            <a:extLst>
              <a:ext uri="{FF2B5EF4-FFF2-40B4-BE49-F238E27FC236}">
                <a16:creationId xmlns:a16="http://schemas.microsoft.com/office/drawing/2014/main" id="{7F3DE215-2F9C-4FBF-AADF-FAC89920CF78}"/>
              </a:ext>
            </a:extLst>
          </p:cNvPr>
          <p:cNvSpPr txBox="1"/>
          <p:nvPr/>
        </p:nvSpPr>
        <p:spPr>
          <a:xfrm>
            <a:off x="695400" y="1556792"/>
            <a:ext cx="6093724" cy="338554"/>
          </a:xfrm>
          <a:prstGeom prst="rect">
            <a:avLst/>
          </a:prstGeom>
          <a:noFill/>
        </p:spPr>
        <p:txBody>
          <a:bodyPr wrap="square">
            <a:spAutoFit/>
          </a:bodyPr>
          <a:lstStyle/>
          <a:p>
            <a:r>
              <a:rPr lang="nb-NO" sz="1600" i="1" dirty="0">
                <a:effectLst/>
                <a:ea typeface="Times New Roman" panose="02020603050405020304" pitchFamily="18" charset="0"/>
                <a:cs typeface="Times New Roman" panose="02020603050405020304" pitchFamily="18" charset="0"/>
              </a:rPr>
              <a:t>I løpet av en vanlig arbeidsuke, vil du si at du på </a:t>
            </a:r>
            <a:r>
              <a:rPr lang="nb-NO" sz="1600" i="1" u="sng" dirty="0">
                <a:effectLst/>
                <a:ea typeface="Times New Roman" panose="02020603050405020304" pitchFamily="18" charset="0"/>
                <a:cs typeface="Times New Roman" panose="02020603050405020304" pitchFamily="18" charset="0"/>
              </a:rPr>
              <a:t>dagtid</a:t>
            </a:r>
            <a:r>
              <a:rPr lang="nb-NO" sz="1600" i="1" dirty="0">
                <a:effectLst/>
                <a:ea typeface="Times New Roman" panose="02020603050405020304" pitchFamily="18" charset="0"/>
                <a:cs typeface="Times New Roman" panose="02020603050405020304" pitchFamily="18" charset="0"/>
              </a:rPr>
              <a:t> er…? </a:t>
            </a:r>
          </a:p>
        </p:txBody>
      </p:sp>
      <p:sp>
        <p:nvSpPr>
          <p:cNvPr id="10" name="Text Placeholder 9">
            <a:extLst>
              <a:ext uri="{FF2B5EF4-FFF2-40B4-BE49-F238E27FC236}">
                <a16:creationId xmlns:a16="http://schemas.microsoft.com/office/drawing/2014/main" id="{C34B8E4E-2DE0-4622-B9F2-F2289B3C2536}"/>
              </a:ext>
            </a:extLst>
          </p:cNvPr>
          <p:cNvSpPr txBox="1">
            <a:spLocks/>
          </p:cNvSpPr>
          <p:nvPr/>
        </p:nvSpPr>
        <p:spPr>
          <a:xfrm>
            <a:off x="393223" y="6066933"/>
            <a:ext cx="11463417" cy="215444"/>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 typeface="Arial" panose="020B0604020202020204" pitchFamily="34" charset="0"/>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dirty="0"/>
              <a:t>Base: Alle, n=602</a:t>
            </a:r>
          </a:p>
        </p:txBody>
      </p:sp>
    </p:spTree>
    <p:extLst>
      <p:ext uri="{BB962C8B-B14F-4D97-AF65-F5344CB8AC3E}">
        <p14:creationId xmlns:p14="http://schemas.microsoft.com/office/powerpoint/2010/main" val="25043006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32</a:t>
            </a:fld>
            <a:r>
              <a:rPr lang="nb-NO" noProof="0" dirty="0"/>
              <a:t> ‒ </a:t>
            </a:r>
          </a:p>
        </p:txBody>
      </p:sp>
      <p:sp>
        <p:nvSpPr>
          <p:cNvPr id="7" name="Title 6">
            <a:extLst>
              <a:ext uri="{FF2B5EF4-FFF2-40B4-BE49-F238E27FC236}">
                <a16:creationId xmlns:a16="http://schemas.microsoft.com/office/drawing/2014/main" id="{AFAB9416-0A9F-47EF-B35A-71A6C2DFFEB4}"/>
              </a:ext>
            </a:extLst>
          </p:cNvPr>
          <p:cNvSpPr>
            <a:spLocks noGrp="1"/>
          </p:cNvSpPr>
          <p:nvPr>
            <p:ph type="title"/>
          </p:nvPr>
        </p:nvSpPr>
        <p:spPr>
          <a:xfrm>
            <a:off x="404786" y="382816"/>
            <a:ext cx="11382428" cy="313932"/>
          </a:xfrm>
        </p:spPr>
        <p:txBody>
          <a:bodyPr/>
          <a:lstStyle/>
          <a:p>
            <a:r>
              <a:rPr lang="nb-NO" sz="1600" dirty="0">
                <a:solidFill>
                  <a:schemeClr val="bg1">
                    <a:lumMod val="75000"/>
                  </a:schemeClr>
                </a:solidFill>
              </a:rPr>
              <a:t>Om utvalget</a:t>
            </a:r>
          </a:p>
        </p:txBody>
      </p:sp>
      <p:graphicFrame>
        <p:nvGraphicFramePr>
          <p:cNvPr id="11" name="Chart 3">
            <a:extLst>
              <a:ext uri="{FF2B5EF4-FFF2-40B4-BE49-F238E27FC236}">
                <a16:creationId xmlns:a16="http://schemas.microsoft.com/office/drawing/2014/main" id="{40CF8018-067F-4E75-B44F-7DBDEE62D42A}"/>
              </a:ext>
            </a:extLst>
          </p:cNvPr>
          <p:cNvGraphicFramePr>
            <a:graphicFrameLocks noChangeAspect="1"/>
          </p:cNvGraphicFramePr>
          <p:nvPr>
            <p:extLst>
              <p:ext uri="{D42A27DB-BD31-4B8C-83A1-F6EECF244321}">
                <p14:modId xmlns:p14="http://schemas.microsoft.com/office/powerpoint/2010/main" val="3483053110"/>
              </p:ext>
            </p:extLst>
          </p:nvPr>
        </p:nvGraphicFramePr>
        <p:xfrm>
          <a:off x="2999656" y="2027390"/>
          <a:ext cx="5442857" cy="3798084"/>
        </p:xfrm>
        <a:graphic>
          <a:graphicData uri="http://schemas.openxmlformats.org/drawingml/2006/chart">
            <c:chart xmlns:c="http://schemas.openxmlformats.org/drawingml/2006/chart" xmlns:r="http://schemas.openxmlformats.org/officeDocument/2006/relationships" r:id="rId2"/>
          </a:graphicData>
        </a:graphic>
      </p:graphicFrame>
      <p:sp>
        <p:nvSpPr>
          <p:cNvPr id="6" name="TekstSylinder 5">
            <a:extLst>
              <a:ext uri="{FF2B5EF4-FFF2-40B4-BE49-F238E27FC236}">
                <a16:creationId xmlns:a16="http://schemas.microsoft.com/office/drawing/2014/main" id="{A85CADBD-18C8-4F8F-AA5F-7C41E4A8BA2C}"/>
              </a:ext>
            </a:extLst>
          </p:cNvPr>
          <p:cNvSpPr txBox="1"/>
          <p:nvPr/>
        </p:nvSpPr>
        <p:spPr>
          <a:xfrm>
            <a:off x="407368" y="692696"/>
            <a:ext cx="4248472" cy="523220"/>
          </a:xfrm>
          <a:prstGeom prst="rect">
            <a:avLst/>
          </a:prstGeom>
          <a:noFill/>
        </p:spPr>
        <p:txBody>
          <a:bodyPr wrap="square" rtlCol="0">
            <a:spAutoFit/>
          </a:bodyPr>
          <a:lstStyle/>
          <a:p>
            <a:r>
              <a:rPr lang="en-GB" sz="2800" dirty="0">
                <a:latin typeface="+mj-lt"/>
              </a:rPr>
              <a:t>Barn i husstand</a:t>
            </a:r>
          </a:p>
        </p:txBody>
      </p:sp>
      <p:sp>
        <p:nvSpPr>
          <p:cNvPr id="8" name="Rectangle 4">
            <a:extLst>
              <a:ext uri="{FF2B5EF4-FFF2-40B4-BE49-F238E27FC236}">
                <a16:creationId xmlns:a16="http://schemas.microsoft.com/office/drawing/2014/main" id="{33895E5F-8833-4A99-9B26-63ACCC51675B}"/>
              </a:ext>
            </a:extLst>
          </p:cNvPr>
          <p:cNvSpPr/>
          <p:nvPr/>
        </p:nvSpPr>
        <p:spPr>
          <a:xfrm>
            <a:off x="4295800" y="1628800"/>
            <a:ext cx="3756156" cy="338554"/>
          </a:xfrm>
          <a:prstGeom prst="rect">
            <a:avLst/>
          </a:prstGeom>
        </p:spPr>
        <p:txBody>
          <a:bodyPr wrap="none">
            <a:spAutoFit/>
          </a:bodyPr>
          <a:lstStyle/>
          <a:p>
            <a:r>
              <a:rPr lang="nb-NO" sz="1600" i="1" dirty="0"/>
              <a:t>Bor det barn under 18 år i husstanden?</a:t>
            </a:r>
          </a:p>
        </p:txBody>
      </p:sp>
      <p:sp>
        <p:nvSpPr>
          <p:cNvPr id="9" name="Text Placeholder 9">
            <a:extLst>
              <a:ext uri="{FF2B5EF4-FFF2-40B4-BE49-F238E27FC236}">
                <a16:creationId xmlns:a16="http://schemas.microsoft.com/office/drawing/2014/main" id="{888DB30B-0A06-434B-AE87-15035C219751}"/>
              </a:ext>
            </a:extLst>
          </p:cNvPr>
          <p:cNvSpPr txBox="1">
            <a:spLocks/>
          </p:cNvSpPr>
          <p:nvPr/>
        </p:nvSpPr>
        <p:spPr>
          <a:xfrm>
            <a:off x="393223" y="6066933"/>
            <a:ext cx="11463417" cy="215444"/>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 typeface="Arial" panose="020B0604020202020204" pitchFamily="34" charset="0"/>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dirty="0"/>
              <a:t>Base: Alle, n=602</a:t>
            </a:r>
          </a:p>
        </p:txBody>
      </p:sp>
    </p:spTree>
    <p:extLst>
      <p:ext uri="{BB962C8B-B14F-4D97-AF65-F5344CB8AC3E}">
        <p14:creationId xmlns:p14="http://schemas.microsoft.com/office/powerpoint/2010/main" val="332256803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Plassholder for innhold 3">
            <a:extLst>
              <a:ext uri="{FF2B5EF4-FFF2-40B4-BE49-F238E27FC236}">
                <a16:creationId xmlns:a16="http://schemas.microsoft.com/office/drawing/2014/main" id="{F267AFC8-051D-4F38-9D11-178CEA35E2EB}"/>
              </a:ext>
            </a:extLst>
          </p:cNvPr>
          <p:cNvGraphicFramePr>
            <a:graphicFrameLocks noGrp="1"/>
          </p:cNvGraphicFramePr>
          <p:nvPr>
            <p:ph idx="1"/>
            <p:extLst>
              <p:ext uri="{D42A27DB-BD31-4B8C-83A1-F6EECF244321}">
                <p14:modId xmlns:p14="http://schemas.microsoft.com/office/powerpoint/2010/main" val="2377010175"/>
              </p:ext>
            </p:extLst>
          </p:nvPr>
        </p:nvGraphicFramePr>
        <p:xfrm>
          <a:off x="407368" y="1340768"/>
          <a:ext cx="11253357" cy="4037661"/>
        </p:xfrm>
        <a:graphic>
          <a:graphicData uri="http://schemas.openxmlformats.org/drawingml/2006/chart">
            <c:chart xmlns:c="http://schemas.openxmlformats.org/drawingml/2006/chart" xmlns:r="http://schemas.openxmlformats.org/officeDocument/2006/relationships" r:id="rId2"/>
          </a:graphicData>
        </a:graphic>
      </p:graphicFrame>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33</a:t>
            </a:fld>
            <a:r>
              <a:rPr lang="nb-NO" noProof="0" dirty="0"/>
              <a:t> ‒ </a:t>
            </a:r>
          </a:p>
        </p:txBody>
      </p:sp>
      <p:sp>
        <p:nvSpPr>
          <p:cNvPr id="7" name="Title 6">
            <a:extLst>
              <a:ext uri="{FF2B5EF4-FFF2-40B4-BE49-F238E27FC236}">
                <a16:creationId xmlns:a16="http://schemas.microsoft.com/office/drawing/2014/main" id="{AFAB9416-0A9F-47EF-B35A-71A6C2DFFEB4}"/>
              </a:ext>
            </a:extLst>
          </p:cNvPr>
          <p:cNvSpPr>
            <a:spLocks noGrp="1"/>
          </p:cNvSpPr>
          <p:nvPr>
            <p:ph type="title"/>
          </p:nvPr>
        </p:nvSpPr>
        <p:spPr>
          <a:xfrm>
            <a:off x="404786" y="382816"/>
            <a:ext cx="11382428" cy="313932"/>
          </a:xfrm>
        </p:spPr>
        <p:txBody>
          <a:bodyPr/>
          <a:lstStyle/>
          <a:p>
            <a:r>
              <a:rPr lang="nb-NO" sz="1600" dirty="0">
                <a:solidFill>
                  <a:schemeClr val="bg1">
                    <a:lumMod val="75000"/>
                  </a:schemeClr>
                </a:solidFill>
              </a:rPr>
              <a:t>Om utvalget</a:t>
            </a:r>
          </a:p>
        </p:txBody>
      </p:sp>
      <p:sp>
        <p:nvSpPr>
          <p:cNvPr id="11" name="TekstSylinder 10">
            <a:extLst>
              <a:ext uri="{FF2B5EF4-FFF2-40B4-BE49-F238E27FC236}">
                <a16:creationId xmlns:a16="http://schemas.microsoft.com/office/drawing/2014/main" id="{B19410B3-0DB3-47B9-9050-5EA014B9CC32}"/>
              </a:ext>
            </a:extLst>
          </p:cNvPr>
          <p:cNvSpPr txBox="1"/>
          <p:nvPr/>
        </p:nvSpPr>
        <p:spPr>
          <a:xfrm>
            <a:off x="551384" y="1412776"/>
            <a:ext cx="6096000" cy="338554"/>
          </a:xfrm>
          <a:prstGeom prst="rect">
            <a:avLst/>
          </a:prstGeom>
          <a:noFill/>
        </p:spPr>
        <p:txBody>
          <a:bodyPr wrap="square">
            <a:spAutoFit/>
          </a:bodyPr>
          <a:lstStyle/>
          <a:p>
            <a:r>
              <a:rPr lang="en-GB" sz="1600" i="1" dirty="0">
                <a:cs typeface="Times New Roman" panose="02020603050405020304" pitchFamily="18" charset="0"/>
              </a:rPr>
              <a:t>Hvilket land er …</a:t>
            </a:r>
          </a:p>
        </p:txBody>
      </p:sp>
      <p:sp>
        <p:nvSpPr>
          <p:cNvPr id="2" name="TekstSylinder 1">
            <a:extLst>
              <a:ext uri="{FF2B5EF4-FFF2-40B4-BE49-F238E27FC236}">
                <a16:creationId xmlns:a16="http://schemas.microsoft.com/office/drawing/2014/main" id="{45ED2310-166C-4214-899C-5EE4513AD94E}"/>
              </a:ext>
            </a:extLst>
          </p:cNvPr>
          <p:cNvSpPr txBox="1"/>
          <p:nvPr/>
        </p:nvSpPr>
        <p:spPr>
          <a:xfrm>
            <a:off x="3215680" y="6021288"/>
            <a:ext cx="5328592" cy="307777"/>
          </a:xfrm>
          <a:prstGeom prst="rect">
            <a:avLst/>
          </a:prstGeom>
          <a:solidFill>
            <a:schemeClr val="bg1">
              <a:lumMod val="85000"/>
            </a:schemeClr>
          </a:solidFill>
        </p:spPr>
        <p:txBody>
          <a:bodyPr wrap="square" rtlCol="0">
            <a:spAutoFit/>
          </a:bodyPr>
          <a:lstStyle/>
          <a:p>
            <a:r>
              <a:rPr lang="en-GB" sz="1400" dirty="0"/>
              <a:t>17 % av de spurte svarer at </a:t>
            </a:r>
            <a:r>
              <a:rPr lang="nb-NO" sz="1400" dirty="0">
                <a:effectLst/>
              </a:rPr>
              <a:t>begge foreldre er født utenfor Norge. </a:t>
            </a:r>
          </a:p>
        </p:txBody>
      </p:sp>
      <p:sp>
        <p:nvSpPr>
          <p:cNvPr id="8" name="TekstSylinder 7">
            <a:extLst>
              <a:ext uri="{FF2B5EF4-FFF2-40B4-BE49-F238E27FC236}">
                <a16:creationId xmlns:a16="http://schemas.microsoft.com/office/drawing/2014/main" id="{8A9F71D7-CD8E-4836-91AF-0FF32003E2F2}"/>
              </a:ext>
            </a:extLst>
          </p:cNvPr>
          <p:cNvSpPr txBox="1"/>
          <p:nvPr/>
        </p:nvSpPr>
        <p:spPr>
          <a:xfrm>
            <a:off x="407368" y="692696"/>
            <a:ext cx="2592288" cy="523220"/>
          </a:xfrm>
          <a:prstGeom prst="rect">
            <a:avLst/>
          </a:prstGeom>
          <a:noFill/>
        </p:spPr>
        <p:txBody>
          <a:bodyPr wrap="square" rtlCol="0">
            <a:spAutoFit/>
          </a:bodyPr>
          <a:lstStyle/>
          <a:p>
            <a:r>
              <a:rPr lang="en-GB" sz="2800" dirty="0">
                <a:latin typeface="+mj-lt"/>
              </a:rPr>
              <a:t>Opprinnelse</a:t>
            </a:r>
          </a:p>
        </p:txBody>
      </p:sp>
      <p:sp>
        <p:nvSpPr>
          <p:cNvPr id="12" name="Text Placeholder 9">
            <a:extLst>
              <a:ext uri="{FF2B5EF4-FFF2-40B4-BE49-F238E27FC236}">
                <a16:creationId xmlns:a16="http://schemas.microsoft.com/office/drawing/2014/main" id="{628B8029-A8AD-4176-ACD2-D9D0D72DF982}"/>
              </a:ext>
            </a:extLst>
          </p:cNvPr>
          <p:cNvSpPr txBox="1">
            <a:spLocks/>
          </p:cNvSpPr>
          <p:nvPr/>
        </p:nvSpPr>
        <p:spPr>
          <a:xfrm>
            <a:off x="393223" y="6066933"/>
            <a:ext cx="11463417" cy="215444"/>
          </a:xfrm>
          <a:prstGeom prst="rect">
            <a:avLst/>
          </a:prstGeom>
        </p:spPr>
        <p:txBody>
          <a:bodyPr vert="horz" wrap="square" lIns="72000" tIns="45720" rIns="0" bIns="45720" rtlCol="0" anchor="b">
            <a:spAutoFit/>
          </a:bodyPr>
          <a:lstStyle>
            <a:lvl1pPr marL="0" indent="0" algn="l" defTabSz="914400" rtl="0" eaLnBrk="1" latinLnBrk="0" hangingPunct="1">
              <a:lnSpc>
                <a:spcPct val="100000"/>
              </a:lnSpc>
              <a:spcBef>
                <a:spcPts val="1800"/>
              </a:spcBef>
              <a:buSzPct val="50000"/>
              <a:buFont typeface="HelveticaNeueLT Std Lt Cn" panose="020B0406020202030204" pitchFamily="34" charset="0"/>
              <a:buNone/>
              <a:defRPr sz="800" b="0" i="1" kern="1200">
                <a:solidFill>
                  <a:schemeClr val="bg1">
                    <a:lumMod val="50000"/>
                  </a:schemeClr>
                </a:solidFill>
                <a:latin typeface="+mn-lt"/>
                <a:ea typeface="+mn-ea"/>
                <a:cs typeface="+mn-cs"/>
              </a:defRPr>
            </a:lvl1pPr>
            <a:lvl2pPr marL="133350" indent="0" algn="l" defTabSz="914400" rtl="0" eaLnBrk="1" latinLnBrk="0" hangingPunct="1">
              <a:lnSpc>
                <a:spcPct val="100000"/>
              </a:lnSpc>
              <a:spcBef>
                <a:spcPts val="600"/>
              </a:spcBef>
              <a:buSzPct val="80000"/>
              <a:buFont typeface="Arial" panose="020B0604020202020204" pitchFamily="34" charset="0"/>
              <a:buNone/>
              <a:defRPr sz="1600" kern="1200">
                <a:solidFill>
                  <a:schemeClr val="tx1"/>
                </a:solidFill>
                <a:latin typeface="+mn-lt"/>
                <a:ea typeface="+mn-ea"/>
                <a:cs typeface="+mn-cs"/>
              </a:defRPr>
            </a:lvl2pPr>
            <a:lvl3pPr marL="542925" indent="0" algn="l" defTabSz="914400" rtl="0" eaLnBrk="1" latinLnBrk="0" hangingPunct="1">
              <a:lnSpc>
                <a:spcPct val="100000"/>
              </a:lnSpc>
              <a:spcBef>
                <a:spcPts val="600"/>
              </a:spcBef>
              <a:buFont typeface="Arial" panose="020B0604020202020204" pitchFamily="34" charset="0"/>
              <a:buNone/>
              <a:defRPr sz="1400" kern="1200">
                <a:solidFill>
                  <a:schemeClr val="tx1"/>
                </a:solidFill>
                <a:latin typeface="+mn-lt"/>
                <a:ea typeface="+mn-ea"/>
                <a:cs typeface="+mn-cs"/>
              </a:defRPr>
            </a:lvl3pPr>
            <a:lvl4pPr marL="758825" indent="0" algn="l" defTabSz="914400" rtl="0" eaLnBrk="1" latinLnBrk="0" hangingPunct="1">
              <a:lnSpc>
                <a:spcPct val="90000"/>
              </a:lnSpc>
              <a:spcBef>
                <a:spcPts val="500"/>
              </a:spcBef>
              <a:buFont typeface="Arial" panose="020B0604020202020204" pitchFamily="34" charset="0"/>
              <a:buNone/>
              <a:defRPr sz="1100" kern="1200">
                <a:solidFill>
                  <a:schemeClr val="bg2"/>
                </a:solidFill>
                <a:latin typeface="+mn-lt"/>
                <a:ea typeface="+mn-ea"/>
                <a:cs typeface="+mn-cs"/>
              </a:defRPr>
            </a:lvl4pPr>
            <a:lvl5pPr marL="1033463" indent="0" algn="l" defTabSz="914400" rtl="0" eaLnBrk="1" latinLnBrk="0" hangingPunct="1">
              <a:lnSpc>
                <a:spcPct val="90000"/>
              </a:lnSpc>
              <a:spcBef>
                <a:spcPts val="500"/>
              </a:spcBef>
              <a:buFont typeface="HelveticaNeueLT Std Lt Cn" panose="020B0406020202030204" pitchFamily="34" charset="0"/>
              <a:buNone/>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dirty="0"/>
              <a:t>Base: Alle, n=602</a:t>
            </a:r>
          </a:p>
        </p:txBody>
      </p:sp>
    </p:spTree>
    <p:extLst>
      <p:ext uri="{BB962C8B-B14F-4D97-AF65-F5344CB8AC3E}">
        <p14:creationId xmlns:p14="http://schemas.microsoft.com/office/powerpoint/2010/main" val="61018496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t 5" hidden="1">
            <a:extLst>
              <a:ext uri="{FF2B5EF4-FFF2-40B4-BE49-F238E27FC236}">
                <a16:creationId xmlns:a16="http://schemas.microsoft.com/office/drawing/2014/main" id="{E4AB8693-1DC6-4649-AE28-F3CD0D738C1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5465" name="Diapositive think-cell" r:id="rId6" imgW="532" imgH="530" progId="TCLayout.ActiveDocument.1">
                  <p:embed/>
                </p:oleObj>
              </mc:Choice>
              <mc:Fallback>
                <p:oleObj name="Diapositive think-cell" r:id="rId6" imgW="532" imgH="530" progId="TCLayout.ActiveDocument.1">
                  <p:embed/>
                  <p:pic>
                    <p:nvPicPr>
                      <p:cNvPr id="6" name="Objet 5" hidden="1">
                        <a:extLst>
                          <a:ext uri="{FF2B5EF4-FFF2-40B4-BE49-F238E27FC236}">
                            <a16:creationId xmlns:a16="http://schemas.microsoft.com/office/drawing/2014/main" id="{E4AB8693-1DC6-4649-AE28-F3CD0D738C1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8B04EA4-ABA7-486E-82EE-527404769195}"/>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GB" sz="2800" b="1" dirty="0">
              <a:latin typeface="Arial Black" panose="020B0A04020102020204" pitchFamily="34" charset="0"/>
              <a:ea typeface="+mj-ea"/>
              <a:cs typeface="+mj-cs"/>
              <a:sym typeface="Arial Black" panose="020B0A04020102020204" pitchFamily="34" charset="0"/>
            </a:endParaRPr>
          </a:p>
        </p:txBody>
      </p:sp>
      <p:sp>
        <p:nvSpPr>
          <p:cNvPr id="22" name="Forme libre : forme 21">
            <a:extLst>
              <a:ext uri="{FF2B5EF4-FFF2-40B4-BE49-F238E27FC236}">
                <a16:creationId xmlns:a16="http://schemas.microsoft.com/office/drawing/2014/main" id="{C39FE571-D606-4DDE-97C0-147A147136CD}"/>
              </a:ext>
            </a:extLst>
          </p:cNvPr>
          <p:cNvSpPr/>
          <p:nvPr/>
        </p:nvSpPr>
        <p:spPr>
          <a:xfrm rot="18932423">
            <a:off x="-731951" y="1416072"/>
            <a:ext cx="4902449" cy="530454"/>
          </a:xfrm>
          <a:custGeom>
            <a:avLst/>
            <a:gdLst>
              <a:gd name="connsiteX0" fmla="*/ 4832249 w 5372804"/>
              <a:gd name="connsiteY0" fmla="*/ 0 h 530454"/>
              <a:gd name="connsiteX1" fmla="*/ 5372804 w 5372804"/>
              <a:gd name="connsiteY1" fmla="*/ 530454 h 530454"/>
              <a:gd name="connsiteX2" fmla="*/ 0 w 5372804"/>
              <a:gd name="connsiteY2" fmla="*/ 530454 h 530454"/>
              <a:gd name="connsiteX3" fmla="*/ 520541 w 5372804"/>
              <a:gd name="connsiteY3" fmla="*/ 0 h 530454"/>
            </a:gdLst>
            <a:ahLst/>
            <a:cxnLst>
              <a:cxn ang="0">
                <a:pos x="connsiteX0" y="connsiteY0"/>
              </a:cxn>
              <a:cxn ang="0">
                <a:pos x="connsiteX1" y="connsiteY1"/>
              </a:cxn>
              <a:cxn ang="0">
                <a:pos x="connsiteX2" y="connsiteY2"/>
              </a:cxn>
              <a:cxn ang="0">
                <a:pos x="connsiteX3" y="connsiteY3"/>
              </a:cxn>
            </a:cxnLst>
            <a:rect l="l" t="t" r="r" b="b"/>
            <a:pathLst>
              <a:path w="5372804" h="530454">
                <a:moveTo>
                  <a:pt x="4832249" y="0"/>
                </a:moveTo>
                <a:lnTo>
                  <a:pt x="5372804" y="530454"/>
                </a:lnTo>
                <a:lnTo>
                  <a:pt x="0" y="530454"/>
                </a:lnTo>
                <a:lnTo>
                  <a:pt x="520541" y="0"/>
                </a:lnTo>
                <a:close/>
              </a:path>
            </a:pathLst>
          </a:custGeom>
          <a:solidFill>
            <a:schemeClr val="bg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dirty="0">
              <a:solidFill>
                <a:schemeClr val="bg2"/>
              </a:solidFill>
              <a:highlight>
                <a:srgbClr val="2F469C"/>
              </a:highlight>
            </a:endParaRPr>
          </a:p>
        </p:txBody>
      </p:sp>
      <p:sp>
        <p:nvSpPr>
          <p:cNvPr id="23" name="Forme libre : forme 22">
            <a:extLst>
              <a:ext uri="{FF2B5EF4-FFF2-40B4-BE49-F238E27FC236}">
                <a16:creationId xmlns:a16="http://schemas.microsoft.com/office/drawing/2014/main" id="{5C4729C1-AFDA-464E-BE83-7811AD44EEFD}"/>
              </a:ext>
            </a:extLst>
          </p:cNvPr>
          <p:cNvSpPr/>
          <p:nvPr/>
        </p:nvSpPr>
        <p:spPr>
          <a:xfrm rot="18932423">
            <a:off x="-499199" y="885270"/>
            <a:ext cx="3374997" cy="530454"/>
          </a:xfrm>
          <a:custGeom>
            <a:avLst/>
            <a:gdLst>
              <a:gd name="connsiteX0" fmla="*/ 3297489 w 3838044"/>
              <a:gd name="connsiteY0" fmla="*/ 0 h 530454"/>
              <a:gd name="connsiteX1" fmla="*/ 3838044 w 3838044"/>
              <a:gd name="connsiteY1" fmla="*/ 530454 h 530454"/>
              <a:gd name="connsiteX2" fmla="*/ 0 w 3838044"/>
              <a:gd name="connsiteY2" fmla="*/ 530454 h 530454"/>
              <a:gd name="connsiteX3" fmla="*/ 520541 w 3838044"/>
              <a:gd name="connsiteY3" fmla="*/ 0 h 530454"/>
            </a:gdLst>
            <a:ahLst/>
            <a:cxnLst>
              <a:cxn ang="0">
                <a:pos x="connsiteX0" y="connsiteY0"/>
              </a:cxn>
              <a:cxn ang="0">
                <a:pos x="connsiteX1" y="connsiteY1"/>
              </a:cxn>
              <a:cxn ang="0">
                <a:pos x="connsiteX2" y="connsiteY2"/>
              </a:cxn>
              <a:cxn ang="0">
                <a:pos x="connsiteX3" y="connsiteY3"/>
              </a:cxn>
            </a:cxnLst>
            <a:rect l="l" t="t" r="r" b="b"/>
            <a:pathLst>
              <a:path w="3838044" h="530454">
                <a:moveTo>
                  <a:pt x="3297489" y="0"/>
                </a:moveTo>
                <a:lnTo>
                  <a:pt x="3838044" y="530454"/>
                </a:lnTo>
                <a:lnTo>
                  <a:pt x="0" y="530454"/>
                </a:lnTo>
                <a:lnTo>
                  <a:pt x="520541" y="0"/>
                </a:lnTo>
                <a:close/>
              </a:path>
            </a:pathLst>
          </a:custGeom>
          <a:solidFill>
            <a:schemeClr val="tx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nb-NO" dirty="0"/>
          </a:p>
        </p:txBody>
      </p:sp>
      <p:sp>
        <p:nvSpPr>
          <p:cNvPr id="9" name="Espace réservé du texte 8">
            <a:extLst>
              <a:ext uri="{FF2B5EF4-FFF2-40B4-BE49-F238E27FC236}">
                <a16:creationId xmlns:a16="http://schemas.microsoft.com/office/drawing/2014/main" id="{0C254CDB-CA3B-40F4-9EB0-333017465BFC}"/>
              </a:ext>
            </a:extLst>
          </p:cNvPr>
          <p:cNvSpPr>
            <a:spLocks noGrp="1"/>
          </p:cNvSpPr>
          <p:nvPr>
            <p:ph type="body" sz="quarter" idx="22"/>
          </p:nvPr>
        </p:nvSpPr>
        <p:spPr>
          <a:xfrm>
            <a:off x="3359696" y="1772816"/>
            <a:ext cx="3121480" cy="1308050"/>
          </a:xfrm>
        </p:spPr>
        <p:txBody>
          <a:bodyPr/>
          <a:lstStyle/>
          <a:p>
            <a:r>
              <a:rPr lang="nb-NO" dirty="0"/>
              <a:t>LINN SØRENSEN HOLST</a:t>
            </a:r>
          </a:p>
          <a:p>
            <a:pPr lvl="1"/>
            <a:r>
              <a:rPr lang="nb-NO" dirty="0">
                <a:solidFill>
                  <a:schemeClr val="tx2"/>
                </a:solidFill>
              </a:rPr>
              <a:t>Leder</a:t>
            </a:r>
          </a:p>
          <a:p>
            <a:pPr lvl="1"/>
            <a:r>
              <a:rPr lang="nb-NO" dirty="0"/>
              <a:t>Ipsos Public Affairs</a:t>
            </a:r>
          </a:p>
          <a:p>
            <a:pPr lvl="1"/>
            <a:r>
              <a:rPr lang="nb-NO" dirty="0"/>
              <a:t>Linn.holst@ipsos.com</a:t>
            </a:r>
          </a:p>
        </p:txBody>
      </p:sp>
      <p:sp>
        <p:nvSpPr>
          <p:cNvPr id="10" name="Espace réservé du texte 9">
            <a:extLst>
              <a:ext uri="{FF2B5EF4-FFF2-40B4-BE49-F238E27FC236}">
                <a16:creationId xmlns:a16="http://schemas.microsoft.com/office/drawing/2014/main" id="{ACD44172-D36C-4C1F-A728-7B23D11FEDAB}"/>
              </a:ext>
            </a:extLst>
          </p:cNvPr>
          <p:cNvSpPr>
            <a:spLocks noGrp="1"/>
          </p:cNvSpPr>
          <p:nvPr>
            <p:ph type="body" sz="quarter" idx="23"/>
          </p:nvPr>
        </p:nvSpPr>
        <p:spPr>
          <a:xfrm>
            <a:off x="7399656" y="1772816"/>
            <a:ext cx="3448872" cy="1308050"/>
          </a:xfrm>
        </p:spPr>
        <p:txBody>
          <a:bodyPr/>
          <a:lstStyle/>
          <a:p>
            <a:r>
              <a:rPr lang="nb-NO" dirty="0"/>
              <a:t>BRITT KRISTINE LUDVIGSEN</a:t>
            </a:r>
          </a:p>
          <a:p>
            <a:pPr lvl="1"/>
            <a:r>
              <a:rPr lang="nb-NO" dirty="0">
                <a:solidFill>
                  <a:schemeClr val="tx2"/>
                </a:solidFill>
              </a:rPr>
              <a:t>Konsulent</a:t>
            </a:r>
          </a:p>
          <a:p>
            <a:pPr lvl="1"/>
            <a:r>
              <a:rPr lang="nb-NO" dirty="0"/>
              <a:t>Ipsos Public Affairs</a:t>
            </a:r>
          </a:p>
          <a:p>
            <a:pPr lvl="1"/>
            <a:r>
              <a:rPr lang="nb-NO" dirty="0"/>
              <a:t>Brittkristine.ludvigsen@ipsos.com</a:t>
            </a:r>
          </a:p>
        </p:txBody>
      </p:sp>
      <p:sp>
        <p:nvSpPr>
          <p:cNvPr id="5" name="Titre 4">
            <a:extLst>
              <a:ext uri="{FF2B5EF4-FFF2-40B4-BE49-F238E27FC236}">
                <a16:creationId xmlns:a16="http://schemas.microsoft.com/office/drawing/2014/main" id="{E570C691-0079-4BE6-AE22-15A3DF9CCF1E}"/>
              </a:ext>
            </a:extLst>
          </p:cNvPr>
          <p:cNvSpPr>
            <a:spLocks noGrp="1"/>
          </p:cNvSpPr>
          <p:nvPr>
            <p:ph type="title"/>
          </p:nvPr>
        </p:nvSpPr>
        <p:spPr>
          <a:xfrm>
            <a:off x="404786" y="450105"/>
            <a:ext cx="11382428" cy="590931"/>
          </a:xfrm>
        </p:spPr>
        <p:txBody>
          <a:bodyPr/>
          <a:lstStyle/>
          <a:p>
            <a:r>
              <a:rPr lang="nb-NO" sz="3600" dirty="0">
                <a:latin typeface="+mj-lt"/>
              </a:rPr>
              <a:t>Kontakt</a:t>
            </a:r>
          </a:p>
        </p:txBody>
      </p:sp>
      <p:sp>
        <p:nvSpPr>
          <p:cNvPr id="30" name="Espace réservé du numéro de diapositive 29">
            <a:extLst>
              <a:ext uri="{FF2B5EF4-FFF2-40B4-BE49-F238E27FC236}">
                <a16:creationId xmlns:a16="http://schemas.microsoft.com/office/drawing/2014/main" id="{378CC466-C451-4AB5-9877-A7B73EA33293}"/>
              </a:ext>
            </a:extLst>
          </p:cNvPr>
          <p:cNvSpPr>
            <a:spLocks noGrp="1"/>
          </p:cNvSpPr>
          <p:nvPr>
            <p:ph type="sldNum" sz="quarter" idx="25"/>
          </p:nvPr>
        </p:nvSpPr>
        <p:spPr>
          <a:xfrm>
            <a:off x="382932" y="6219234"/>
            <a:ext cx="360037" cy="365125"/>
          </a:xfrm>
        </p:spPr>
        <p:txBody>
          <a:bodyPr/>
          <a:lstStyle/>
          <a:p>
            <a:fld id="{D61AABEC-672F-4B68-B914-690DA978312C}" type="slidenum">
              <a:rPr lang="nb-NO" smtClean="0"/>
              <a:pPr/>
              <a:t>34</a:t>
            </a:fld>
            <a:r>
              <a:rPr lang="nb-NO" dirty="0"/>
              <a:t> ‒ </a:t>
            </a:r>
          </a:p>
        </p:txBody>
      </p:sp>
    </p:spTree>
    <p:extLst>
      <p:ext uri="{BB962C8B-B14F-4D97-AF65-F5344CB8AC3E}">
        <p14:creationId xmlns:p14="http://schemas.microsoft.com/office/powerpoint/2010/main" val="34925429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C147CCE-758A-4B3E-8B01-ABF1F188504C}"/>
              </a:ext>
            </a:extLst>
          </p:cNvPr>
          <p:cNvSpPr>
            <a:spLocks noGrp="1"/>
          </p:cNvSpPr>
          <p:nvPr>
            <p:ph type="sldNum" sz="quarter" idx="14"/>
          </p:nvPr>
        </p:nvSpPr>
        <p:spPr/>
        <p:txBody>
          <a:bodyPr/>
          <a:lstStyle/>
          <a:p>
            <a:fld id="{D61AABEC-672F-4B68-B914-690DA978312C}" type="slidenum">
              <a:rPr lang="en-GB" smtClean="0"/>
              <a:pPr/>
              <a:t>4</a:t>
            </a:fld>
            <a:r>
              <a:rPr lang="en-GB" dirty="0"/>
              <a:t> ‒ </a:t>
            </a:r>
          </a:p>
        </p:txBody>
      </p:sp>
      <p:sp>
        <p:nvSpPr>
          <p:cNvPr id="7" name="Freeform: Shape 17">
            <a:extLst>
              <a:ext uri="{FF2B5EF4-FFF2-40B4-BE49-F238E27FC236}">
                <a16:creationId xmlns:a16="http://schemas.microsoft.com/office/drawing/2014/main" id="{A6A66D63-5779-4872-9CC0-0A7AA5B8264C}"/>
              </a:ext>
            </a:extLst>
          </p:cNvPr>
          <p:cNvSpPr/>
          <p:nvPr/>
        </p:nvSpPr>
        <p:spPr>
          <a:xfrm>
            <a:off x="119336" y="85700"/>
            <a:ext cx="9145016" cy="6772300"/>
          </a:xfrm>
          <a:custGeom>
            <a:avLst/>
            <a:gdLst>
              <a:gd name="connsiteX0" fmla="*/ 3953688 w 5659411"/>
              <a:gd name="connsiteY0" fmla="*/ 0 h 5143502"/>
              <a:gd name="connsiteX1" fmla="*/ 5659411 w 5659411"/>
              <a:gd name="connsiteY1" fmla="*/ 5143499 h 5143502"/>
              <a:gd name="connsiteX2" fmla="*/ 3953688 w 5659411"/>
              <a:gd name="connsiteY2" fmla="*/ 5143499 h 5143502"/>
              <a:gd name="connsiteX3" fmla="*/ 3953688 w 5659411"/>
              <a:gd name="connsiteY3" fmla="*/ 5143502 h 5143502"/>
              <a:gd name="connsiteX4" fmla="*/ 0 w 5659411"/>
              <a:gd name="connsiteY4" fmla="*/ 5143502 h 5143502"/>
              <a:gd name="connsiteX5" fmla="*/ 0 w 5659411"/>
              <a:gd name="connsiteY5" fmla="*/ 3 h 5143502"/>
              <a:gd name="connsiteX6" fmla="*/ 3953688 w 5659411"/>
              <a:gd name="connsiteY6" fmla="*/ 3 h 514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9411" h="5143502">
                <a:moveTo>
                  <a:pt x="3953688" y="0"/>
                </a:moveTo>
                <a:lnTo>
                  <a:pt x="5659411" y="5143499"/>
                </a:lnTo>
                <a:lnTo>
                  <a:pt x="3953688" y="5143499"/>
                </a:lnTo>
                <a:lnTo>
                  <a:pt x="3953688" y="5143502"/>
                </a:lnTo>
                <a:lnTo>
                  <a:pt x="0" y="5143502"/>
                </a:lnTo>
                <a:lnTo>
                  <a:pt x="0" y="3"/>
                </a:lnTo>
                <a:lnTo>
                  <a:pt x="3953688" y="3"/>
                </a:lnTo>
                <a:close/>
              </a:path>
            </a:pathLst>
          </a:custGeom>
          <a:solidFill>
            <a:schemeClr val="bg1">
              <a:alpha val="7882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just">
              <a:lnSpc>
                <a:spcPct val="107000"/>
              </a:lnSpc>
              <a:spcAft>
                <a:spcPts val="800"/>
              </a:spcAft>
              <a:buClr>
                <a:srgbClr val="007681"/>
              </a:buClr>
              <a:buFont typeface="Arial" panose="020B0604020202020204" pitchFamily="34" charset="0"/>
              <a:buChar char="•"/>
              <a:tabLst>
                <a:tab pos="457200" algn="l"/>
              </a:tabLst>
            </a:pPr>
            <a:endParaRPr lang="en-GB" sz="1400" dirty="0">
              <a:solidFill>
                <a:schemeClr val="tx1"/>
              </a:solidFill>
            </a:endParaRPr>
          </a:p>
        </p:txBody>
      </p:sp>
      <p:sp>
        <p:nvSpPr>
          <p:cNvPr id="9" name="Tittel 8">
            <a:extLst>
              <a:ext uri="{FF2B5EF4-FFF2-40B4-BE49-F238E27FC236}">
                <a16:creationId xmlns:a16="http://schemas.microsoft.com/office/drawing/2014/main" id="{BC9D46D3-2EF2-4A6C-B671-B833F280291B}"/>
              </a:ext>
            </a:extLst>
          </p:cNvPr>
          <p:cNvSpPr>
            <a:spLocks noGrp="1"/>
          </p:cNvSpPr>
          <p:nvPr>
            <p:ph type="title"/>
          </p:nvPr>
        </p:nvSpPr>
        <p:spPr>
          <a:xfrm>
            <a:off x="200188" y="404664"/>
            <a:ext cx="7551996" cy="445507"/>
          </a:xfrm>
        </p:spPr>
        <p:txBody>
          <a:bodyPr/>
          <a:lstStyle/>
          <a:p>
            <a:r>
              <a:rPr lang="nb-NO" sz="2800" dirty="0">
                <a:solidFill>
                  <a:schemeClr val="bg1">
                    <a:lumMod val="75000"/>
                  </a:schemeClr>
                </a:solidFill>
                <a:latin typeface="+mn-lt"/>
              </a:rPr>
              <a:t>Sammendrag (1)</a:t>
            </a:r>
            <a:endParaRPr lang="en-GB" sz="2800" dirty="0">
              <a:latin typeface="+mn-lt"/>
            </a:endParaRPr>
          </a:p>
        </p:txBody>
      </p:sp>
      <p:sp>
        <p:nvSpPr>
          <p:cNvPr id="10" name="TekstSylinder 9">
            <a:extLst>
              <a:ext uri="{FF2B5EF4-FFF2-40B4-BE49-F238E27FC236}">
                <a16:creationId xmlns:a16="http://schemas.microsoft.com/office/drawing/2014/main" id="{6D8FDCB8-717B-4C35-AA5F-2EAFCB908664}"/>
              </a:ext>
            </a:extLst>
          </p:cNvPr>
          <p:cNvSpPr txBox="1"/>
          <p:nvPr/>
        </p:nvSpPr>
        <p:spPr>
          <a:xfrm>
            <a:off x="191344" y="980728"/>
            <a:ext cx="7200800" cy="5797228"/>
          </a:xfrm>
          <a:prstGeom prst="rect">
            <a:avLst/>
          </a:prstGeom>
          <a:noFill/>
        </p:spPr>
        <p:txBody>
          <a:bodyPr wrap="square" rtlCol="0">
            <a:spAutoFit/>
          </a:bodyPr>
          <a:lstStyle/>
          <a:p>
            <a:pPr marL="342900" indent="-342900">
              <a:lnSpc>
                <a:spcPct val="107000"/>
              </a:lnSpc>
              <a:spcAft>
                <a:spcPts val="1200"/>
              </a:spcAft>
              <a:buClr>
                <a:srgbClr val="007681"/>
              </a:buClr>
              <a:buFont typeface="Arial" panose="020B0604020202020204" pitchFamily="34" charset="0"/>
              <a:buChar char="•"/>
              <a:tabLst>
                <a:tab pos="457200" algn="l"/>
              </a:tabLst>
            </a:pPr>
            <a:r>
              <a:rPr lang="nb-NO" sz="1600" dirty="0">
                <a:solidFill>
                  <a:schemeClr val="tx1"/>
                </a:solidFill>
                <a:cs typeface="Calibri" panose="020F0502020204030204" pitchFamily="34" charset="0"/>
              </a:rPr>
              <a:t>Over 7 av 10 (73 %) svarer at lydnivået fra beredskapssenteret       påvirker dem i «liten» eller «ingen grad». I underkant av 3 av 10 (27 %) svarer at de blir påvirket av lydnivået fra beredskapssenteret i «noen» eller «høy grad». Av disse </a:t>
            </a:r>
            <a:r>
              <a:rPr lang="nb-NO" sz="1600" dirty="0">
                <a:cs typeface="Calibri" panose="020F0502020204030204" pitchFamily="34" charset="0"/>
              </a:rPr>
              <a:t>svarer</a:t>
            </a:r>
            <a:r>
              <a:rPr lang="nb-NO" sz="1600" dirty="0">
                <a:solidFill>
                  <a:schemeClr val="tx1"/>
                </a:solidFill>
                <a:cs typeface="Calibri" panose="020F0502020204030204" pitchFamily="34" charset="0"/>
              </a:rPr>
              <a:t> 42 % at lydnivået påvirker alminnelig ro i hjem og hage, mens 26 % svarer at det påvirker søvn.</a:t>
            </a:r>
          </a:p>
          <a:p>
            <a:pPr marL="342000">
              <a:lnSpc>
                <a:spcPct val="107000"/>
              </a:lnSpc>
              <a:spcAft>
                <a:spcPts val="1800"/>
              </a:spcAft>
              <a:buClr>
                <a:srgbClr val="007681"/>
              </a:buClr>
              <a:tabLst>
                <a:tab pos="457200" algn="l"/>
              </a:tabLst>
            </a:pPr>
            <a:r>
              <a:rPr lang="nb-NO" sz="1600" dirty="0">
                <a:solidFill>
                  <a:schemeClr val="tx1"/>
                </a:solidFill>
                <a:cs typeface="Calibri" panose="020F0502020204030204" pitchFamily="34" charset="0"/>
              </a:rPr>
              <a:t>I 2019-undersøkelsen svarte litt over halvparten at de trodde de ville bli påvirket av lydnivået fra fremtidig drift ved senteret i «noen» eller «høy grad». Altså er det færre som opplever å bli påvirket av lydnivået fra driften av senteret i 2022 enn som forventet dette i </a:t>
            </a:r>
            <a:r>
              <a:rPr lang="nb-NO" sz="1600" dirty="0">
                <a:cs typeface="Calibri" panose="020F0502020204030204" pitchFamily="34" charset="0"/>
              </a:rPr>
              <a:t>2019-</a:t>
            </a:r>
            <a:r>
              <a:rPr lang="nb-NO" sz="1600" dirty="0">
                <a:solidFill>
                  <a:schemeClr val="tx1"/>
                </a:solidFill>
                <a:cs typeface="Calibri" panose="020F0502020204030204" pitchFamily="34" charset="0"/>
              </a:rPr>
              <a:t>undersøkelsen.</a:t>
            </a:r>
            <a:endParaRPr lang="en-GB" sz="1600" dirty="0">
              <a:solidFill>
                <a:schemeClr val="tx1"/>
              </a:solidFill>
              <a:cs typeface="Calibri" panose="020F0502020204030204" pitchFamily="34" charset="0"/>
            </a:endParaRPr>
          </a:p>
          <a:p>
            <a:pPr marL="342900" lvl="0" indent="-342900">
              <a:lnSpc>
                <a:spcPct val="107000"/>
              </a:lnSpc>
              <a:spcAft>
                <a:spcPts val="1800"/>
              </a:spcAft>
              <a:buClr>
                <a:srgbClr val="007681"/>
              </a:buClr>
              <a:buFont typeface="Arial" panose="020B0604020202020204" pitchFamily="34" charset="0"/>
              <a:buChar char="•"/>
              <a:tabLst>
                <a:tab pos="457200" algn="l"/>
              </a:tabLst>
            </a:pPr>
            <a:r>
              <a:rPr lang="nb-NO" sz="1600" dirty="0">
                <a:solidFill>
                  <a:schemeClr val="tx1"/>
                </a:solidFill>
                <a:cs typeface="Calibri" panose="020F0502020204030204" pitchFamily="34" charset="0"/>
              </a:rPr>
              <a:t>69 % svarer at de ukentlig eller oftere hører lyder fra helikopter fra beredskapssenteret. Lyder fra sirener, skyting, eksplosjoner og andre aktiviteter </a:t>
            </a:r>
            <a:r>
              <a:rPr lang="nb-NO" sz="1600" dirty="0">
                <a:cs typeface="Calibri" panose="020F0502020204030204" pitchFamily="34" charset="0"/>
              </a:rPr>
              <a:t>ved</a:t>
            </a:r>
            <a:r>
              <a:rPr lang="nb-NO" sz="1600" dirty="0">
                <a:solidFill>
                  <a:schemeClr val="tx1"/>
                </a:solidFill>
                <a:cs typeface="Calibri" panose="020F0502020204030204" pitchFamily="34" charset="0"/>
              </a:rPr>
              <a:t> senteret høres langt sjeldnere; 1–2 % svarer at de hører lyd fra disse aktivitetene ukentlig eller oftere. </a:t>
            </a:r>
            <a:endParaRPr lang="en-GB" sz="1600" dirty="0">
              <a:solidFill>
                <a:schemeClr val="tx1"/>
              </a:solidFill>
              <a:cs typeface="Calibri" panose="020F0502020204030204" pitchFamily="34" charset="0"/>
            </a:endParaRPr>
          </a:p>
          <a:p>
            <a:pPr marL="342900" lvl="0" indent="-342900">
              <a:lnSpc>
                <a:spcPct val="107000"/>
              </a:lnSpc>
              <a:spcAft>
                <a:spcPts val="800"/>
              </a:spcAft>
              <a:buClr>
                <a:srgbClr val="007681"/>
              </a:buClr>
              <a:buFont typeface="Arial" panose="020B0604020202020204" pitchFamily="34" charset="0"/>
              <a:buChar char="•"/>
              <a:tabLst>
                <a:tab pos="457200" algn="l"/>
              </a:tabLst>
            </a:pPr>
            <a:r>
              <a:rPr lang="nb-NO" sz="1600" dirty="0">
                <a:cs typeface="Calibri" panose="020F0502020204030204" pitchFamily="34" charset="0"/>
              </a:rPr>
              <a:t>43</a:t>
            </a:r>
            <a:r>
              <a:rPr lang="nb-NO" sz="1600" dirty="0">
                <a:solidFill>
                  <a:schemeClr val="tx1"/>
                </a:solidFill>
                <a:cs typeface="Calibri" panose="020F0502020204030204" pitchFamily="34" charset="0"/>
              </a:rPr>
              <a:t> % svarer at de hører mindre lyd enn de forventet fra beredskapssenteret etter at det kom i drift, mens 25 % hører omtrent like mye lyd og 19 % mer lyd enn forventet.                                                                                </a:t>
            </a:r>
          </a:p>
          <a:p>
            <a:pPr marL="342000" lvl="0">
              <a:lnSpc>
                <a:spcPct val="107000"/>
              </a:lnSpc>
              <a:spcAft>
                <a:spcPts val="800"/>
              </a:spcAft>
              <a:buClr>
                <a:srgbClr val="007681"/>
              </a:buClr>
              <a:tabLst>
                <a:tab pos="457200" algn="l"/>
              </a:tabLst>
            </a:pPr>
            <a:r>
              <a:rPr lang="nb-NO" sz="1600" dirty="0">
                <a:solidFill>
                  <a:schemeClr val="tx1"/>
                </a:solidFill>
                <a:cs typeface="Calibri" panose="020F0502020204030204" pitchFamily="34" charset="0"/>
              </a:rPr>
              <a:t>I undersøkelsen fra 2019 forventet 38 % av de som var bosatt i Bjørndal, Tårnåsen og Sofiemyr at de ville høre «ganske» eller «veldig mye» støy hjemme når beredskapssenteret kom i drift. </a:t>
            </a:r>
            <a:endParaRPr lang="en-GB" sz="1600" dirty="0">
              <a:solidFill>
                <a:schemeClr val="tx1"/>
              </a:solidFill>
              <a:cs typeface="Calibri" panose="020F0502020204030204" pitchFamily="34" charset="0"/>
            </a:endParaRPr>
          </a:p>
        </p:txBody>
      </p:sp>
    </p:spTree>
    <p:extLst>
      <p:ext uri="{BB962C8B-B14F-4D97-AF65-F5344CB8AC3E}">
        <p14:creationId xmlns:p14="http://schemas.microsoft.com/office/powerpoint/2010/main" val="36385625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C147CCE-758A-4B3E-8B01-ABF1F188504C}"/>
              </a:ext>
            </a:extLst>
          </p:cNvPr>
          <p:cNvSpPr>
            <a:spLocks noGrp="1"/>
          </p:cNvSpPr>
          <p:nvPr>
            <p:ph type="sldNum" sz="quarter" idx="14"/>
          </p:nvPr>
        </p:nvSpPr>
        <p:spPr/>
        <p:txBody>
          <a:bodyPr/>
          <a:lstStyle/>
          <a:p>
            <a:fld id="{D61AABEC-672F-4B68-B914-690DA978312C}" type="slidenum">
              <a:rPr lang="en-GB" smtClean="0"/>
              <a:pPr/>
              <a:t>5</a:t>
            </a:fld>
            <a:r>
              <a:rPr lang="en-GB" dirty="0"/>
              <a:t> ‒ </a:t>
            </a:r>
          </a:p>
        </p:txBody>
      </p:sp>
      <p:sp>
        <p:nvSpPr>
          <p:cNvPr id="7" name="Freeform: Shape 17">
            <a:extLst>
              <a:ext uri="{FF2B5EF4-FFF2-40B4-BE49-F238E27FC236}">
                <a16:creationId xmlns:a16="http://schemas.microsoft.com/office/drawing/2014/main" id="{A6A66D63-5779-4872-9CC0-0A7AA5B8264C}"/>
              </a:ext>
            </a:extLst>
          </p:cNvPr>
          <p:cNvSpPr/>
          <p:nvPr/>
        </p:nvSpPr>
        <p:spPr>
          <a:xfrm>
            <a:off x="119336" y="116632"/>
            <a:ext cx="9145016" cy="6624736"/>
          </a:xfrm>
          <a:custGeom>
            <a:avLst/>
            <a:gdLst>
              <a:gd name="connsiteX0" fmla="*/ 3953688 w 5659411"/>
              <a:gd name="connsiteY0" fmla="*/ 0 h 5143502"/>
              <a:gd name="connsiteX1" fmla="*/ 5659411 w 5659411"/>
              <a:gd name="connsiteY1" fmla="*/ 5143499 h 5143502"/>
              <a:gd name="connsiteX2" fmla="*/ 3953688 w 5659411"/>
              <a:gd name="connsiteY2" fmla="*/ 5143499 h 5143502"/>
              <a:gd name="connsiteX3" fmla="*/ 3953688 w 5659411"/>
              <a:gd name="connsiteY3" fmla="*/ 5143502 h 5143502"/>
              <a:gd name="connsiteX4" fmla="*/ 0 w 5659411"/>
              <a:gd name="connsiteY4" fmla="*/ 5143502 h 5143502"/>
              <a:gd name="connsiteX5" fmla="*/ 0 w 5659411"/>
              <a:gd name="connsiteY5" fmla="*/ 3 h 5143502"/>
              <a:gd name="connsiteX6" fmla="*/ 3953688 w 5659411"/>
              <a:gd name="connsiteY6" fmla="*/ 3 h 5143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659411" h="5143502">
                <a:moveTo>
                  <a:pt x="3953688" y="0"/>
                </a:moveTo>
                <a:lnTo>
                  <a:pt x="5659411" y="5143499"/>
                </a:lnTo>
                <a:lnTo>
                  <a:pt x="3953688" y="5143499"/>
                </a:lnTo>
                <a:lnTo>
                  <a:pt x="3953688" y="5143502"/>
                </a:lnTo>
                <a:lnTo>
                  <a:pt x="0" y="5143502"/>
                </a:lnTo>
                <a:lnTo>
                  <a:pt x="0" y="3"/>
                </a:lnTo>
                <a:lnTo>
                  <a:pt x="3953688" y="3"/>
                </a:lnTo>
                <a:close/>
              </a:path>
            </a:pathLst>
          </a:custGeom>
          <a:solidFill>
            <a:schemeClr val="bg1">
              <a:alpha val="78824"/>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lgn="just">
              <a:lnSpc>
                <a:spcPct val="107000"/>
              </a:lnSpc>
              <a:spcAft>
                <a:spcPts val="800"/>
              </a:spcAft>
              <a:buClr>
                <a:srgbClr val="007681"/>
              </a:buClr>
              <a:buFont typeface="Arial" panose="020B0604020202020204" pitchFamily="34" charset="0"/>
              <a:buChar char="•"/>
              <a:tabLst>
                <a:tab pos="457200" algn="l"/>
              </a:tabLst>
            </a:pPr>
            <a:endParaRPr lang="en-GB" sz="1400" dirty="0">
              <a:solidFill>
                <a:schemeClr val="tx1"/>
              </a:solidFill>
            </a:endParaRPr>
          </a:p>
        </p:txBody>
      </p:sp>
      <p:sp>
        <p:nvSpPr>
          <p:cNvPr id="9" name="Tittel 8">
            <a:extLst>
              <a:ext uri="{FF2B5EF4-FFF2-40B4-BE49-F238E27FC236}">
                <a16:creationId xmlns:a16="http://schemas.microsoft.com/office/drawing/2014/main" id="{BC9D46D3-2EF2-4A6C-B671-B833F280291B}"/>
              </a:ext>
            </a:extLst>
          </p:cNvPr>
          <p:cNvSpPr>
            <a:spLocks noGrp="1"/>
          </p:cNvSpPr>
          <p:nvPr>
            <p:ph type="title"/>
          </p:nvPr>
        </p:nvSpPr>
        <p:spPr>
          <a:xfrm>
            <a:off x="191344" y="404664"/>
            <a:ext cx="7551996" cy="445507"/>
          </a:xfrm>
        </p:spPr>
        <p:txBody>
          <a:bodyPr/>
          <a:lstStyle/>
          <a:p>
            <a:r>
              <a:rPr lang="nb-NO" sz="2800" dirty="0">
                <a:solidFill>
                  <a:schemeClr val="bg1">
                    <a:lumMod val="75000"/>
                  </a:schemeClr>
                </a:solidFill>
                <a:latin typeface="+mn-lt"/>
              </a:rPr>
              <a:t>Sammendrag (2)</a:t>
            </a:r>
            <a:endParaRPr lang="en-GB" sz="2800" dirty="0">
              <a:latin typeface="+mn-lt"/>
            </a:endParaRPr>
          </a:p>
        </p:txBody>
      </p:sp>
      <p:sp>
        <p:nvSpPr>
          <p:cNvPr id="10" name="TekstSylinder 9">
            <a:extLst>
              <a:ext uri="{FF2B5EF4-FFF2-40B4-BE49-F238E27FC236}">
                <a16:creationId xmlns:a16="http://schemas.microsoft.com/office/drawing/2014/main" id="{6D8FDCB8-717B-4C35-AA5F-2EAFCB908664}"/>
              </a:ext>
            </a:extLst>
          </p:cNvPr>
          <p:cNvSpPr txBox="1"/>
          <p:nvPr/>
        </p:nvSpPr>
        <p:spPr>
          <a:xfrm>
            <a:off x="191344" y="1052736"/>
            <a:ext cx="6768752" cy="4724755"/>
          </a:xfrm>
          <a:prstGeom prst="rect">
            <a:avLst/>
          </a:prstGeom>
          <a:noFill/>
        </p:spPr>
        <p:txBody>
          <a:bodyPr wrap="square" rtlCol="0">
            <a:spAutoFit/>
          </a:bodyPr>
          <a:lstStyle/>
          <a:p>
            <a:pPr marL="342900" lvl="0" indent="-342900">
              <a:lnSpc>
                <a:spcPct val="107000"/>
              </a:lnSpc>
              <a:spcAft>
                <a:spcPts val="1800"/>
              </a:spcAft>
              <a:buClr>
                <a:srgbClr val="007681"/>
              </a:buClr>
              <a:buFont typeface="Arial" panose="020B0604020202020204" pitchFamily="34" charset="0"/>
              <a:buChar char="•"/>
              <a:tabLst>
                <a:tab pos="457200" algn="l"/>
              </a:tabLst>
            </a:pPr>
            <a:r>
              <a:rPr lang="nb-NO" sz="1600" dirty="0">
                <a:cs typeface="Calibri" panose="020F0502020204030204" pitchFamily="34" charset="0"/>
              </a:rPr>
              <a:t>I underkant av 2 av 3 (64 %) svarer at de i «liten» eller «ingen grad» har mottatt informasjon om driften ved beredskapssenteret. Flest av de som har mottatt informasjon har fått dette gjennom lokale medier/lokalavis (72 %). </a:t>
            </a:r>
          </a:p>
          <a:p>
            <a:pPr marL="342900" lvl="0" indent="-342900">
              <a:lnSpc>
                <a:spcPct val="107000"/>
              </a:lnSpc>
              <a:spcAft>
                <a:spcPts val="1800"/>
              </a:spcAft>
              <a:buClr>
                <a:srgbClr val="007681"/>
              </a:buClr>
              <a:buFont typeface="Arial" panose="020B0604020202020204" pitchFamily="34" charset="0"/>
              <a:buChar char="•"/>
              <a:tabLst>
                <a:tab pos="457200" algn="l"/>
              </a:tabLst>
            </a:pPr>
            <a:r>
              <a:rPr lang="nb-NO" sz="1600" dirty="0">
                <a:cs typeface="Calibri" panose="020F0502020204030204" pitchFamily="34" charset="0"/>
              </a:rPr>
              <a:t>4 av 10 svarer at de i «høy» eller «noen grad» ønsker mer informasjon om driften ved senteret, og spesielt informasjon om helikopterflyving.</a:t>
            </a:r>
            <a:endParaRPr lang="en-GB" sz="1600" dirty="0">
              <a:cs typeface="Calibri" panose="020F0502020204030204" pitchFamily="34" charset="0"/>
            </a:endParaRPr>
          </a:p>
          <a:p>
            <a:pPr marL="342900" lvl="0" indent="-342900">
              <a:lnSpc>
                <a:spcPct val="107000"/>
              </a:lnSpc>
              <a:spcAft>
                <a:spcPts val="800"/>
              </a:spcAft>
              <a:buClr>
                <a:srgbClr val="007681"/>
              </a:buClr>
              <a:buFont typeface="Arial" panose="020B0604020202020204" pitchFamily="34" charset="0"/>
              <a:buChar char="•"/>
              <a:tabLst>
                <a:tab pos="457200" algn="l"/>
              </a:tabLst>
            </a:pPr>
            <a:r>
              <a:rPr lang="nb-NO" sz="1600" dirty="0">
                <a:solidFill>
                  <a:schemeClr val="tx1"/>
                </a:solidFill>
                <a:cs typeface="Calibri" panose="020F0502020204030204" pitchFamily="34" charset="0"/>
              </a:rPr>
              <a:t>Flertallet mener at beredskapssenteret i «liten» eller «ingen grad» har gitt positive (61 %) eller negative (69 %) ringvirkninger til lokalsamfunnet. </a:t>
            </a:r>
          </a:p>
          <a:p>
            <a:pPr marL="342000" lvl="0">
              <a:lnSpc>
                <a:spcPct val="107000"/>
              </a:lnSpc>
              <a:spcAft>
                <a:spcPts val="800"/>
              </a:spcAft>
              <a:buClr>
                <a:srgbClr val="007681"/>
              </a:buClr>
              <a:tabLst>
                <a:tab pos="457200" algn="l"/>
              </a:tabLst>
            </a:pPr>
            <a:r>
              <a:rPr lang="en-GB" sz="1600" dirty="0">
                <a:cs typeface="Calibri" panose="020F0502020204030204" pitchFamily="34" charset="0"/>
              </a:rPr>
              <a:t>Blant de 23 % som mener senteret i </a:t>
            </a:r>
            <a:r>
              <a:rPr lang="nb-NO" sz="1600" dirty="0">
                <a:solidFill>
                  <a:schemeClr val="tx1"/>
                </a:solidFill>
                <a:cs typeface="Calibri" panose="020F0502020204030204" pitchFamily="34" charset="0"/>
              </a:rPr>
              <a:t>«</a:t>
            </a:r>
            <a:r>
              <a:rPr lang="en-GB" sz="1600" dirty="0">
                <a:cs typeface="Calibri" panose="020F0502020204030204" pitchFamily="34" charset="0"/>
              </a:rPr>
              <a:t>noen</a:t>
            </a:r>
            <a:r>
              <a:rPr lang="nb-NO" sz="1600" dirty="0">
                <a:solidFill>
                  <a:schemeClr val="tx1"/>
                </a:solidFill>
                <a:cs typeface="Calibri" panose="020F0502020204030204" pitchFamily="34" charset="0"/>
              </a:rPr>
              <a:t>»</a:t>
            </a:r>
            <a:r>
              <a:rPr lang="en-GB" sz="1600" dirty="0">
                <a:cs typeface="Calibri" panose="020F0502020204030204" pitchFamily="34" charset="0"/>
              </a:rPr>
              <a:t> eller </a:t>
            </a:r>
            <a:r>
              <a:rPr lang="nb-NO" sz="1600" dirty="0">
                <a:solidFill>
                  <a:schemeClr val="tx1"/>
                </a:solidFill>
                <a:cs typeface="Calibri" panose="020F0502020204030204" pitchFamily="34" charset="0"/>
              </a:rPr>
              <a:t>«</a:t>
            </a:r>
            <a:r>
              <a:rPr lang="en-GB" sz="1600" dirty="0">
                <a:cs typeface="Calibri" panose="020F0502020204030204" pitchFamily="34" charset="0"/>
              </a:rPr>
              <a:t>høy grad</a:t>
            </a:r>
            <a:r>
              <a:rPr lang="nb-NO" sz="1600" dirty="0">
                <a:solidFill>
                  <a:schemeClr val="tx1"/>
                </a:solidFill>
                <a:cs typeface="Calibri" panose="020F0502020204030204" pitchFamily="34" charset="0"/>
              </a:rPr>
              <a:t>»</a:t>
            </a:r>
            <a:r>
              <a:rPr lang="en-GB" sz="1600" dirty="0">
                <a:cs typeface="Calibri" panose="020F0502020204030204" pitchFamily="34" charset="0"/>
              </a:rPr>
              <a:t> har gitt positive ringvirkninger er det særlig økt beredskap i nærområdet som nevnes, mens det blant de 25 % som mener senteret har gitt negative ringvirkninger er økt lyd og støy som nevnes av flest.</a:t>
            </a:r>
            <a:endParaRPr lang="en-GB" sz="1600" dirty="0">
              <a:effectLst/>
              <a:ea typeface="Calibri" panose="020F0502020204030204" pitchFamily="34" charset="0"/>
              <a:cs typeface="Calibri" panose="020F0502020204030204" pitchFamily="34" charset="0"/>
            </a:endParaRPr>
          </a:p>
          <a:p>
            <a:endParaRPr lang="en-GB" dirty="0"/>
          </a:p>
        </p:txBody>
      </p:sp>
    </p:spTree>
    <p:extLst>
      <p:ext uri="{BB962C8B-B14F-4D97-AF65-F5344CB8AC3E}">
        <p14:creationId xmlns:p14="http://schemas.microsoft.com/office/powerpoint/2010/main" val="18353890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01F91D-D95C-4F14-915E-6CD417F02A5C}"/>
              </a:ext>
            </a:extLst>
          </p:cNvPr>
          <p:cNvSpPr>
            <a:spLocks noGrp="1"/>
          </p:cNvSpPr>
          <p:nvPr>
            <p:ph type="title"/>
          </p:nvPr>
        </p:nvSpPr>
        <p:spPr>
          <a:xfrm>
            <a:off x="459207" y="546021"/>
            <a:ext cx="7551996" cy="1587679"/>
          </a:xfrm>
        </p:spPr>
        <p:txBody>
          <a:bodyPr/>
          <a:lstStyle/>
          <a:p>
            <a:r>
              <a:rPr lang="nb-NO" dirty="0"/>
              <a:t>LYDNIVÅ OG STØY</a:t>
            </a:r>
          </a:p>
        </p:txBody>
      </p:sp>
      <p:sp>
        <p:nvSpPr>
          <p:cNvPr id="5" name="Slide Number Placeholder 4">
            <a:extLst>
              <a:ext uri="{FF2B5EF4-FFF2-40B4-BE49-F238E27FC236}">
                <a16:creationId xmlns:a16="http://schemas.microsoft.com/office/drawing/2014/main" id="{2C147CCE-758A-4B3E-8B01-ABF1F188504C}"/>
              </a:ext>
            </a:extLst>
          </p:cNvPr>
          <p:cNvSpPr>
            <a:spLocks noGrp="1"/>
          </p:cNvSpPr>
          <p:nvPr>
            <p:ph type="sldNum" sz="quarter" idx="14"/>
          </p:nvPr>
        </p:nvSpPr>
        <p:spPr/>
        <p:txBody>
          <a:bodyPr/>
          <a:lstStyle/>
          <a:p>
            <a:fld id="{D61AABEC-672F-4B68-B914-690DA978312C}" type="slidenum">
              <a:rPr lang="en-GB" smtClean="0"/>
              <a:pPr/>
              <a:t>6</a:t>
            </a:fld>
            <a:r>
              <a:rPr lang="en-GB" dirty="0"/>
              <a:t> ‒ </a:t>
            </a:r>
          </a:p>
        </p:txBody>
      </p:sp>
    </p:spTree>
    <p:extLst>
      <p:ext uri="{BB962C8B-B14F-4D97-AF65-F5344CB8AC3E}">
        <p14:creationId xmlns:p14="http://schemas.microsoft.com/office/powerpoint/2010/main" val="9108599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5E77C17-D01F-441E-89B1-B2905769C0F2}"/>
              </a:ext>
            </a:extLst>
          </p:cNvPr>
          <p:cNvSpPr>
            <a:spLocks noGrp="1"/>
          </p:cNvSpPr>
          <p:nvPr>
            <p:ph type="body" sz="quarter" idx="15"/>
          </p:nvPr>
        </p:nvSpPr>
        <p:spPr>
          <a:xfrm>
            <a:off x="551384" y="2132856"/>
            <a:ext cx="8067478" cy="292388"/>
          </a:xfrm>
        </p:spPr>
        <p:txBody>
          <a:bodyPr/>
          <a:lstStyle/>
          <a:p>
            <a:r>
              <a:rPr lang="nb-NO" sz="1600" i="1" dirty="0">
                <a:solidFill>
                  <a:schemeClr val="tx1"/>
                </a:solidFill>
                <a:effectLst/>
                <a:ea typeface="Times New Roman" panose="02020603050405020304" pitchFamily="18" charset="0"/>
                <a:cs typeface="Times New Roman" panose="02020603050405020304" pitchFamily="18" charset="0"/>
              </a:rPr>
              <a:t>I hvilken grad påvirker lydnivået fra driften av beredskapssenteret deg? </a:t>
            </a:r>
            <a:endParaRPr lang="nb-NO" sz="1600" i="1" dirty="0">
              <a:solidFill>
                <a:schemeClr val="tx1"/>
              </a:solidFill>
            </a:endParaRPr>
          </a:p>
        </p:txBody>
      </p:sp>
      <p:sp>
        <p:nvSpPr>
          <p:cNvPr id="10" name="Text Placeholder 9">
            <a:extLst>
              <a:ext uri="{FF2B5EF4-FFF2-40B4-BE49-F238E27FC236}">
                <a16:creationId xmlns:a16="http://schemas.microsoft.com/office/drawing/2014/main" id="{0FA4725A-4AFC-434D-A12C-419DC40F021F}"/>
              </a:ext>
            </a:extLst>
          </p:cNvPr>
          <p:cNvSpPr>
            <a:spLocks noGrp="1"/>
          </p:cNvSpPr>
          <p:nvPr>
            <p:ph type="body" sz="quarter" idx="17"/>
          </p:nvPr>
        </p:nvSpPr>
        <p:spPr>
          <a:xfrm>
            <a:off x="465231" y="6093876"/>
            <a:ext cx="11463417" cy="215444"/>
          </a:xfrm>
        </p:spPr>
        <p:txBody>
          <a:bodyPr/>
          <a:lstStyle/>
          <a:p>
            <a:r>
              <a:rPr lang="nb-NO" dirty="0"/>
              <a:t>Base: Alle, n=602</a:t>
            </a:r>
          </a:p>
        </p:txBody>
      </p:sp>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7</a:t>
            </a:fld>
            <a:r>
              <a:rPr lang="nb-NO" noProof="0" dirty="0"/>
              <a:t> ‒ </a:t>
            </a:r>
          </a:p>
        </p:txBody>
      </p:sp>
      <p:sp>
        <p:nvSpPr>
          <p:cNvPr id="7" name="Title 6">
            <a:extLst>
              <a:ext uri="{FF2B5EF4-FFF2-40B4-BE49-F238E27FC236}">
                <a16:creationId xmlns:a16="http://schemas.microsoft.com/office/drawing/2014/main" id="{AFAB9416-0A9F-47EF-B35A-71A6C2DFFEB4}"/>
              </a:ext>
            </a:extLst>
          </p:cNvPr>
          <p:cNvSpPr>
            <a:spLocks noGrp="1"/>
          </p:cNvSpPr>
          <p:nvPr>
            <p:ph type="title"/>
          </p:nvPr>
        </p:nvSpPr>
        <p:spPr>
          <a:xfrm>
            <a:off x="404786" y="382816"/>
            <a:ext cx="11382428" cy="313932"/>
          </a:xfrm>
        </p:spPr>
        <p:txBody>
          <a:bodyPr/>
          <a:lstStyle/>
          <a:p>
            <a:r>
              <a:rPr lang="nb-NO" sz="1600" dirty="0">
                <a:solidFill>
                  <a:schemeClr val="bg1">
                    <a:lumMod val="75000"/>
                  </a:schemeClr>
                </a:solidFill>
              </a:rPr>
              <a:t>LYDNIVÅ OG STØY</a:t>
            </a:r>
          </a:p>
        </p:txBody>
      </p:sp>
      <p:sp>
        <p:nvSpPr>
          <p:cNvPr id="80" name="Rectangle 5">
            <a:extLst>
              <a:ext uri="{FF2B5EF4-FFF2-40B4-BE49-F238E27FC236}">
                <a16:creationId xmlns:a16="http://schemas.microsoft.com/office/drawing/2014/main" id="{25914C7C-24A3-4562-B8D5-C9D4D3F8DFA7}"/>
              </a:ext>
            </a:extLst>
          </p:cNvPr>
          <p:cNvSpPr/>
          <p:nvPr/>
        </p:nvSpPr>
        <p:spPr>
          <a:xfrm>
            <a:off x="503534" y="4653136"/>
            <a:ext cx="11281098" cy="1116318"/>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dirty="0">
                <a:solidFill>
                  <a:schemeClr val="tx1"/>
                </a:solidFill>
                <a:cs typeface="Calibri" panose="020F0502020204030204" pitchFamily="34" charset="0"/>
              </a:rPr>
              <a:t>Totalt svarer 73 % at lydnivået fra driften av beredskapssenteret påvirker dem i «liten» eller «ingen grad», mens 27 % opplever at lydnivået påvirker dem i «noen» eller «høy» grad.</a:t>
            </a:r>
          </a:p>
          <a:p>
            <a:endParaRPr lang="nb-NO" sz="1200" dirty="0">
              <a:solidFill>
                <a:schemeClr val="tx1"/>
              </a:solidFill>
              <a:cs typeface="Calibri" panose="020F0502020204030204" pitchFamily="34" charset="0"/>
            </a:endParaRPr>
          </a:p>
          <a:p>
            <a:r>
              <a:rPr lang="nb-NO" sz="1200" dirty="0">
                <a:solidFill>
                  <a:schemeClr val="tx1"/>
                </a:solidFill>
                <a:cs typeface="Calibri" panose="020F0502020204030204" pitchFamily="34" charset="0"/>
              </a:rPr>
              <a:t>Det er en lavere andel av de bosatt i Bjørndal som svarer i «ingen grad» (28 %) og en lavere andel av de som bor i Oppegård som svarer i «noen grad» (14 %), sammenlignet med gjennomsnittet av de spurte. Det er flere i alderen 18</a:t>
            </a:r>
            <a:r>
              <a:rPr lang="nb-NO" sz="1200" b="0" i="0" dirty="0">
                <a:solidFill>
                  <a:srgbClr val="4D5156"/>
                </a:solidFill>
                <a:effectLst/>
                <a:cs typeface="Calibri" panose="020F0502020204030204" pitchFamily="34" charset="0"/>
              </a:rPr>
              <a:t>–</a:t>
            </a:r>
            <a:r>
              <a:rPr lang="nb-NO" sz="1200" dirty="0">
                <a:solidFill>
                  <a:schemeClr val="tx1"/>
                </a:solidFill>
                <a:cs typeface="Calibri" panose="020F0502020204030204" pitchFamily="34" charset="0"/>
              </a:rPr>
              <a:t>39 år (52 %) og færre i alderen 40</a:t>
            </a:r>
            <a:r>
              <a:rPr lang="nb-NO" sz="1200" b="0" i="0" dirty="0">
                <a:solidFill>
                  <a:srgbClr val="4D5156"/>
                </a:solidFill>
                <a:effectLst/>
                <a:cs typeface="Calibri" panose="020F0502020204030204" pitchFamily="34" charset="0"/>
              </a:rPr>
              <a:t>–</a:t>
            </a:r>
            <a:r>
              <a:rPr lang="nb-NO" sz="1200" dirty="0">
                <a:solidFill>
                  <a:schemeClr val="tx1"/>
                </a:solidFill>
                <a:cs typeface="Calibri" panose="020F0502020204030204" pitchFamily="34" charset="0"/>
              </a:rPr>
              <a:t>59 år (34 %) som svarer i «ingen grad», sammenlignet med gjennomsnittet av de spurte.</a:t>
            </a:r>
            <a:endParaRPr lang="nb-NO" sz="1400" dirty="0">
              <a:solidFill>
                <a:schemeClr val="tx1"/>
              </a:solidFill>
              <a:cs typeface="Calibri" panose="020F0502020204030204" pitchFamily="34" charset="0"/>
            </a:endParaRPr>
          </a:p>
        </p:txBody>
      </p:sp>
      <p:graphicFrame>
        <p:nvGraphicFramePr>
          <p:cNvPr id="27" name="Chart 4">
            <a:extLst>
              <a:ext uri="{FF2B5EF4-FFF2-40B4-BE49-F238E27FC236}">
                <a16:creationId xmlns:a16="http://schemas.microsoft.com/office/drawing/2014/main" id="{89EEEC16-20CD-4E21-917A-CE0D3C6ABF40}"/>
              </a:ext>
            </a:extLst>
          </p:cNvPr>
          <p:cNvGraphicFramePr/>
          <p:nvPr>
            <p:extLst>
              <p:ext uri="{D42A27DB-BD31-4B8C-83A1-F6EECF244321}">
                <p14:modId xmlns:p14="http://schemas.microsoft.com/office/powerpoint/2010/main" val="2875334455"/>
              </p:ext>
            </p:extLst>
          </p:nvPr>
        </p:nvGraphicFramePr>
        <p:xfrm>
          <a:off x="191344" y="2348880"/>
          <a:ext cx="11604851" cy="2472760"/>
        </p:xfrm>
        <a:graphic>
          <a:graphicData uri="http://schemas.openxmlformats.org/drawingml/2006/chart">
            <c:chart xmlns:c="http://schemas.openxmlformats.org/drawingml/2006/chart" xmlns:r="http://schemas.openxmlformats.org/officeDocument/2006/relationships" r:id="rId2"/>
          </a:graphicData>
        </a:graphic>
      </p:graphicFrame>
      <p:sp>
        <p:nvSpPr>
          <p:cNvPr id="11" name="TekstSylinder 10">
            <a:extLst>
              <a:ext uri="{FF2B5EF4-FFF2-40B4-BE49-F238E27FC236}">
                <a16:creationId xmlns:a16="http://schemas.microsoft.com/office/drawing/2014/main" id="{393E95E6-AB66-4C85-953F-16A51D84E63D}"/>
              </a:ext>
            </a:extLst>
          </p:cNvPr>
          <p:cNvSpPr txBox="1"/>
          <p:nvPr/>
        </p:nvSpPr>
        <p:spPr>
          <a:xfrm>
            <a:off x="407368" y="692696"/>
            <a:ext cx="11881320" cy="954107"/>
          </a:xfrm>
          <a:prstGeom prst="rect">
            <a:avLst/>
          </a:prstGeom>
          <a:noFill/>
        </p:spPr>
        <p:txBody>
          <a:bodyPr wrap="square" rtlCol="0">
            <a:spAutoFit/>
          </a:bodyPr>
          <a:lstStyle/>
          <a:p>
            <a:r>
              <a:rPr lang="en-GB" sz="2800" dirty="0">
                <a:latin typeface="+mj-lt"/>
              </a:rPr>
              <a:t>Over 7 av 10 </a:t>
            </a:r>
            <a:r>
              <a:rPr lang="en-GB" sz="2800" b="1" dirty="0">
                <a:latin typeface="+mj-lt"/>
              </a:rPr>
              <a:t>opplever at lydnivået fra beredskapssenteret påvirker dem i </a:t>
            </a:r>
            <a:r>
              <a:rPr lang="nb-NO" sz="2800" b="1" dirty="0">
                <a:solidFill>
                  <a:schemeClr val="tx1"/>
                </a:solidFill>
                <a:cs typeface="Calibri" panose="020F0502020204030204" pitchFamily="34" charset="0"/>
              </a:rPr>
              <a:t>«</a:t>
            </a:r>
            <a:r>
              <a:rPr lang="en-GB" sz="2800" b="1" dirty="0">
                <a:latin typeface="+mj-lt"/>
              </a:rPr>
              <a:t>liten</a:t>
            </a:r>
            <a:r>
              <a:rPr lang="nb-NO" sz="2800" b="1" dirty="0">
                <a:solidFill>
                  <a:schemeClr val="tx1"/>
                </a:solidFill>
                <a:cs typeface="Calibri" panose="020F0502020204030204" pitchFamily="34" charset="0"/>
              </a:rPr>
              <a:t>»</a:t>
            </a:r>
            <a:r>
              <a:rPr lang="en-GB" sz="2800" b="1" dirty="0">
                <a:latin typeface="+mj-lt"/>
              </a:rPr>
              <a:t> eller </a:t>
            </a:r>
            <a:r>
              <a:rPr lang="nb-NO" sz="2800" b="1" dirty="0">
                <a:solidFill>
                  <a:schemeClr val="tx1"/>
                </a:solidFill>
                <a:cs typeface="Calibri" panose="020F0502020204030204" pitchFamily="34" charset="0"/>
              </a:rPr>
              <a:t>«</a:t>
            </a:r>
            <a:r>
              <a:rPr lang="en-GB" sz="2800" b="1" dirty="0">
                <a:latin typeface="+mj-lt"/>
              </a:rPr>
              <a:t>ingen</a:t>
            </a:r>
            <a:r>
              <a:rPr lang="nb-NO" sz="2800" b="1" dirty="0">
                <a:solidFill>
                  <a:schemeClr val="tx1"/>
                </a:solidFill>
                <a:cs typeface="Calibri" panose="020F0502020204030204" pitchFamily="34" charset="0"/>
              </a:rPr>
              <a:t>»</a:t>
            </a:r>
            <a:r>
              <a:rPr lang="en-GB" sz="2800" b="1" dirty="0">
                <a:latin typeface="+mj-lt"/>
              </a:rPr>
              <a:t> grad</a:t>
            </a:r>
          </a:p>
        </p:txBody>
      </p:sp>
    </p:spTree>
    <p:extLst>
      <p:ext uri="{BB962C8B-B14F-4D97-AF65-F5344CB8AC3E}">
        <p14:creationId xmlns:p14="http://schemas.microsoft.com/office/powerpoint/2010/main" val="36868454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ssholder for lysbildenummer 4">
            <a:extLst>
              <a:ext uri="{FF2B5EF4-FFF2-40B4-BE49-F238E27FC236}">
                <a16:creationId xmlns:a16="http://schemas.microsoft.com/office/drawing/2014/main" id="{143B75A9-E935-4066-A59A-FD4788BCA1AF}"/>
              </a:ext>
            </a:extLst>
          </p:cNvPr>
          <p:cNvSpPr>
            <a:spLocks noGrp="1"/>
          </p:cNvSpPr>
          <p:nvPr>
            <p:ph type="sldNum" sz="quarter" idx="18"/>
          </p:nvPr>
        </p:nvSpPr>
        <p:spPr/>
        <p:txBody>
          <a:bodyPr/>
          <a:lstStyle/>
          <a:p>
            <a:fld id="{D61AABEC-672F-4B68-B914-690DA978312C}" type="slidenum">
              <a:rPr lang="nb-NO" noProof="0" smtClean="0"/>
              <a:pPr/>
              <a:t>8</a:t>
            </a:fld>
            <a:r>
              <a:rPr lang="nb-NO" noProof="0" dirty="0"/>
              <a:t> ‒ </a:t>
            </a:r>
          </a:p>
        </p:txBody>
      </p:sp>
      <p:sp>
        <p:nvSpPr>
          <p:cNvPr id="7" name="Title 6">
            <a:extLst>
              <a:ext uri="{FF2B5EF4-FFF2-40B4-BE49-F238E27FC236}">
                <a16:creationId xmlns:a16="http://schemas.microsoft.com/office/drawing/2014/main" id="{67F7FE2D-571E-46F6-9B1E-23D16AEB15DA}"/>
              </a:ext>
            </a:extLst>
          </p:cNvPr>
          <p:cNvSpPr txBox="1">
            <a:spLocks/>
          </p:cNvSpPr>
          <p:nvPr/>
        </p:nvSpPr>
        <p:spPr>
          <a:xfrm>
            <a:off x="557186" y="535216"/>
            <a:ext cx="11382428" cy="313932"/>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sz="1600" dirty="0">
                <a:solidFill>
                  <a:schemeClr val="bg1">
                    <a:lumMod val="75000"/>
                  </a:schemeClr>
                </a:solidFill>
              </a:rPr>
              <a:t>LYDNIVÅ OG STØY</a:t>
            </a:r>
          </a:p>
        </p:txBody>
      </p:sp>
      <p:sp>
        <p:nvSpPr>
          <p:cNvPr id="8" name="Rectangle 5">
            <a:extLst>
              <a:ext uri="{FF2B5EF4-FFF2-40B4-BE49-F238E27FC236}">
                <a16:creationId xmlns:a16="http://schemas.microsoft.com/office/drawing/2014/main" id="{AF58C4D4-B78E-440D-ACE8-5A6A2F881869}"/>
              </a:ext>
            </a:extLst>
          </p:cNvPr>
          <p:cNvSpPr/>
          <p:nvPr/>
        </p:nvSpPr>
        <p:spPr>
          <a:xfrm>
            <a:off x="479376" y="5517232"/>
            <a:ext cx="11233248" cy="599450"/>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nb-NO" sz="1200" dirty="0">
                <a:solidFill>
                  <a:schemeClr val="tx1"/>
                </a:solidFill>
              </a:rPr>
              <a:t>I undersøkelsen fra 2019, da beredskapssenteret var under utbygging, trodde litt over halvparten av de som var bosatt i Bjørndal, Tårnåsen og Sofiemyr at de ville bli påvirket av lydnivået fra fremtidig drift ved beredskapssenteret i «noen» eller «høy grad». I undersøkelsen gjort i 2022 svarer 28 % av de spurte i de samme områdene at de blir påvirket av lydnivået fra beredskapssenteret i «noen» eller «høy grad».  </a:t>
            </a:r>
            <a:endParaRPr lang="nb-NO" sz="1400" dirty="0">
              <a:solidFill>
                <a:schemeClr val="tx1"/>
              </a:solidFill>
            </a:endParaRPr>
          </a:p>
        </p:txBody>
      </p:sp>
      <p:graphicFrame>
        <p:nvGraphicFramePr>
          <p:cNvPr id="10" name="Chart 4">
            <a:extLst>
              <a:ext uri="{FF2B5EF4-FFF2-40B4-BE49-F238E27FC236}">
                <a16:creationId xmlns:a16="http://schemas.microsoft.com/office/drawing/2014/main" id="{82D7FC82-0E11-4235-B9DB-21685038BE86}"/>
              </a:ext>
            </a:extLst>
          </p:cNvPr>
          <p:cNvGraphicFramePr/>
          <p:nvPr>
            <p:extLst>
              <p:ext uri="{D42A27DB-BD31-4B8C-83A1-F6EECF244321}">
                <p14:modId xmlns:p14="http://schemas.microsoft.com/office/powerpoint/2010/main" val="2655504529"/>
              </p:ext>
            </p:extLst>
          </p:nvPr>
        </p:nvGraphicFramePr>
        <p:xfrm>
          <a:off x="407368" y="4230445"/>
          <a:ext cx="11089232" cy="1070763"/>
        </p:xfrm>
        <a:graphic>
          <a:graphicData uri="http://schemas.openxmlformats.org/drawingml/2006/chart">
            <c:chart xmlns:c="http://schemas.openxmlformats.org/drawingml/2006/chart" xmlns:r="http://schemas.openxmlformats.org/officeDocument/2006/relationships" r:id="rId2"/>
          </a:graphicData>
        </a:graphic>
      </p:graphicFrame>
      <p:sp>
        <p:nvSpPr>
          <p:cNvPr id="16" name="TekstSylinder 15">
            <a:extLst>
              <a:ext uri="{FF2B5EF4-FFF2-40B4-BE49-F238E27FC236}">
                <a16:creationId xmlns:a16="http://schemas.microsoft.com/office/drawing/2014/main" id="{DEE542FB-AFA2-4E75-99BB-9D6C10BEFA9F}"/>
              </a:ext>
            </a:extLst>
          </p:cNvPr>
          <p:cNvSpPr txBox="1"/>
          <p:nvPr/>
        </p:nvSpPr>
        <p:spPr>
          <a:xfrm>
            <a:off x="-384720" y="3985319"/>
            <a:ext cx="14469118" cy="307777"/>
          </a:xfrm>
          <a:prstGeom prst="rect">
            <a:avLst/>
          </a:prstGeom>
          <a:noFill/>
        </p:spPr>
        <p:txBody>
          <a:bodyPr wrap="square">
            <a:spAutoFit/>
          </a:bodyPr>
          <a:lstStyle/>
          <a:p>
            <a:pPr lvl="2">
              <a:spcBef>
                <a:spcPts val="0"/>
              </a:spcBef>
              <a:spcAft>
                <a:spcPts val="200"/>
              </a:spcAft>
            </a:pPr>
            <a:r>
              <a:rPr lang="nb-NO" sz="1400" i="1" dirty="0">
                <a:cs typeface="Times New Roman" panose="02020603050405020304" pitchFamily="18" charset="0"/>
              </a:rPr>
              <a:t>I hvilken grad tror du at lydnivået fra fremtidig drift av beredskapssenteret vil påvirke deg? Base: Bjørndal, Tårnåsen, Sofiemyr (n=405)</a:t>
            </a:r>
            <a:endParaRPr lang="en-GB" sz="1400" i="1" dirty="0">
              <a:cs typeface="Times New Roman" panose="02020603050405020304" pitchFamily="18" charset="0"/>
            </a:endParaRPr>
          </a:p>
        </p:txBody>
      </p:sp>
      <p:graphicFrame>
        <p:nvGraphicFramePr>
          <p:cNvPr id="17" name="Chart 4">
            <a:extLst>
              <a:ext uri="{FF2B5EF4-FFF2-40B4-BE49-F238E27FC236}">
                <a16:creationId xmlns:a16="http://schemas.microsoft.com/office/drawing/2014/main" id="{D50590A7-9456-4D21-9384-6F3299449E71}"/>
              </a:ext>
            </a:extLst>
          </p:cNvPr>
          <p:cNvGraphicFramePr/>
          <p:nvPr>
            <p:extLst>
              <p:ext uri="{D42A27DB-BD31-4B8C-83A1-F6EECF244321}">
                <p14:modId xmlns:p14="http://schemas.microsoft.com/office/powerpoint/2010/main" val="2435751751"/>
              </p:ext>
            </p:extLst>
          </p:nvPr>
        </p:nvGraphicFramePr>
        <p:xfrm>
          <a:off x="551384" y="2504062"/>
          <a:ext cx="11089232" cy="1140962"/>
        </p:xfrm>
        <a:graphic>
          <a:graphicData uri="http://schemas.openxmlformats.org/drawingml/2006/chart">
            <c:chart xmlns:c="http://schemas.openxmlformats.org/drawingml/2006/chart" xmlns:r="http://schemas.openxmlformats.org/officeDocument/2006/relationships" r:id="rId3"/>
          </a:graphicData>
        </a:graphic>
      </p:graphicFrame>
      <p:sp>
        <p:nvSpPr>
          <p:cNvPr id="19" name="TekstSylinder 18">
            <a:extLst>
              <a:ext uri="{FF2B5EF4-FFF2-40B4-BE49-F238E27FC236}">
                <a16:creationId xmlns:a16="http://schemas.microsoft.com/office/drawing/2014/main" id="{8C8D86FD-FA26-43E3-B952-CF2BF0AB396E}"/>
              </a:ext>
            </a:extLst>
          </p:cNvPr>
          <p:cNvSpPr txBox="1"/>
          <p:nvPr/>
        </p:nvSpPr>
        <p:spPr>
          <a:xfrm>
            <a:off x="551384" y="2185119"/>
            <a:ext cx="10257418" cy="307777"/>
          </a:xfrm>
          <a:prstGeom prst="rect">
            <a:avLst/>
          </a:prstGeom>
          <a:noFill/>
        </p:spPr>
        <p:txBody>
          <a:bodyPr wrap="square">
            <a:spAutoFit/>
          </a:bodyPr>
          <a:lstStyle/>
          <a:p>
            <a:r>
              <a:rPr lang="nb-NO" sz="1400" i="1" dirty="0">
                <a:cs typeface="Times New Roman" panose="02020603050405020304" pitchFamily="18" charset="0"/>
              </a:rPr>
              <a:t>I hvilken grad påvirker lydnivået fra driften av beredskapssenteret deg? Base: Bjørndal, Tårnåsen, Sofiemyr (n=386) </a:t>
            </a:r>
          </a:p>
        </p:txBody>
      </p:sp>
      <p:sp>
        <p:nvSpPr>
          <p:cNvPr id="20" name="Title 6">
            <a:extLst>
              <a:ext uri="{FF2B5EF4-FFF2-40B4-BE49-F238E27FC236}">
                <a16:creationId xmlns:a16="http://schemas.microsoft.com/office/drawing/2014/main" id="{4F9B8417-90AC-421A-ADBB-94E3509AA75A}"/>
              </a:ext>
            </a:extLst>
          </p:cNvPr>
          <p:cNvSpPr txBox="1">
            <a:spLocks/>
          </p:cNvSpPr>
          <p:nvPr/>
        </p:nvSpPr>
        <p:spPr>
          <a:xfrm>
            <a:off x="551384" y="1935240"/>
            <a:ext cx="11382428" cy="341632"/>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sz="1800" dirty="0">
                <a:solidFill>
                  <a:schemeClr val="tx1"/>
                </a:solidFill>
              </a:rPr>
              <a:t>2022</a:t>
            </a:r>
          </a:p>
        </p:txBody>
      </p:sp>
      <p:sp>
        <p:nvSpPr>
          <p:cNvPr id="21" name="Title 6">
            <a:extLst>
              <a:ext uri="{FF2B5EF4-FFF2-40B4-BE49-F238E27FC236}">
                <a16:creationId xmlns:a16="http://schemas.microsoft.com/office/drawing/2014/main" id="{B4116303-9410-417F-A6C2-5ED73F825CA8}"/>
              </a:ext>
            </a:extLst>
          </p:cNvPr>
          <p:cNvSpPr txBox="1">
            <a:spLocks/>
          </p:cNvSpPr>
          <p:nvPr/>
        </p:nvSpPr>
        <p:spPr>
          <a:xfrm>
            <a:off x="546220" y="3735440"/>
            <a:ext cx="11382428" cy="341632"/>
          </a:xfrm>
          <a:prstGeom prst="rect">
            <a:avLst/>
          </a:prstGeom>
        </p:spPr>
        <p:txBody>
          <a:bodyPr vert="horz" wrap="square" lIns="72000" tIns="45720" rIns="72000" bIns="45720" rtlCol="0" anchor="t">
            <a:spAutoFit/>
          </a:bodyPr>
          <a:lstStyle>
            <a:lvl1pPr algn="l" defTabSz="914400" rtl="0" eaLnBrk="1" latinLnBrk="0" hangingPunct="1">
              <a:lnSpc>
                <a:spcPct val="90000"/>
              </a:lnSpc>
              <a:spcBef>
                <a:spcPct val="0"/>
              </a:spcBef>
              <a:buNone/>
              <a:defRPr sz="2800" b="0" kern="1200" cap="all" spc="120" baseline="0">
                <a:solidFill>
                  <a:schemeClr val="bg2"/>
                </a:solidFill>
                <a:latin typeface="+mn-lt"/>
                <a:ea typeface="+mj-ea"/>
                <a:cs typeface="+mj-cs"/>
              </a:defRPr>
            </a:lvl1pPr>
          </a:lstStyle>
          <a:p>
            <a:r>
              <a:rPr lang="nb-NO" sz="1800" dirty="0">
                <a:solidFill>
                  <a:schemeClr val="tx1"/>
                </a:solidFill>
              </a:rPr>
              <a:t>2019</a:t>
            </a:r>
          </a:p>
        </p:txBody>
      </p:sp>
      <p:sp>
        <p:nvSpPr>
          <p:cNvPr id="11" name="TekstSylinder 10">
            <a:extLst>
              <a:ext uri="{FF2B5EF4-FFF2-40B4-BE49-F238E27FC236}">
                <a16:creationId xmlns:a16="http://schemas.microsoft.com/office/drawing/2014/main" id="{76A06587-6B17-4454-B9FC-98766526099B}"/>
              </a:ext>
            </a:extLst>
          </p:cNvPr>
          <p:cNvSpPr txBox="1"/>
          <p:nvPr/>
        </p:nvSpPr>
        <p:spPr>
          <a:xfrm>
            <a:off x="551384" y="818709"/>
            <a:ext cx="11449272" cy="954107"/>
          </a:xfrm>
          <a:prstGeom prst="rect">
            <a:avLst/>
          </a:prstGeom>
          <a:noFill/>
        </p:spPr>
        <p:txBody>
          <a:bodyPr wrap="square" rtlCol="0">
            <a:spAutoFit/>
          </a:bodyPr>
          <a:lstStyle/>
          <a:p>
            <a:r>
              <a:rPr lang="en-GB" sz="2800" dirty="0">
                <a:latin typeface="+mj-lt"/>
              </a:rPr>
              <a:t>Færre opplever å bli påvirket av lydnivået fra driften av senteret i 2022 enn forventet i undersøkelsen fra 2019</a:t>
            </a:r>
          </a:p>
        </p:txBody>
      </p:sp>
    </p:spTree>
    <p:extLst>
      <p:ext uri="{BB962C8B-B14F-4D97-AF65-F5344CB8AC3E}">
        <p14:creationId xmlns:p14="http://schemas.microsoft.com/office/powerpoint/2010/main" val="321955583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5E77C17-D01F-441E-89B1-B2905769C0F2}"/>
              </a:ext>
            </a:extLst>
          </p:cNvPr>
          <p:cNvSpPr>
            <a:spLocks noGrp="1"/>
          </p:cNvSpPr>
          <p:nvPr>
            <p:ph type="body" sz="quarter" idx="15"/>
          </p:nvPr>
        </p:nvSpPr>
        <p:spPr>
          <a:xfrm>
            <a:off x="407368" y="1844824"/>
            <a:ext cx="10155710" cy="292388"/>
          </a:xfrm>
        </p:spPr>
        <p:txBody>
          <a:bodyPr/>
          <a:lstStyle/>
          <a:p>
            <a:r>
              <a:rPr lang="nb-NO" sz="1600" i="1" dirty="0">
                <a:solidFill>
                  <a:schemeClr val="tx1"/>
                </a:solidFill>
                <a:cs typeface="Times New Roman" panose="02020603050405020304" pitchFamily="18" charset="0"/>
              </a:rPr>
              <a:t>Hvilke områder påvirker lydnivået fra driften av beredskapssenteret for deg? </a:t>
            </a:r>
          </a:p>
        </p:txBody>
      </p:sp>
      <p:sp>
        <p:nvSpPr>
          <p:cNvPr id="10" name="Text Placeholder 9">
            <a:extLst>
              <a:ext uri="{FF2B5EF4-FFF2-40B4-BE49-F238E27FC236}">
                <a16:creationId xmlns:a16="http://schemas.microsoft.com/office/drawing/2014/main" id="{0FA4725A-4AFC-434D-A12C-419DC40F021F}"/>
              </a:ext>
            </a:extLst>
          </p:cNvPr>
          <p:cNvSpPr>
            <a:spLocks noGrp="1"/>
          </p:cNvSpPr>
          <p:nvPr>
            <p:ph type="body" sz="quarter" idx="17"/>
          </p:nvPr>
        </p:nvSpPr>
        <p:spPr>
          <a:xfrm>
            <a:off x="465231" y="6093296"/>
            <a:ext cx="11463417" cy="215444"/>
          </a:xfrm>
        </p:spPr>
        <p:txBody>
          <a:bodyPr/>
          <a:lstStyle/>
          <a:p>
            <a:r>
              <a:rPr lang="nb-NO" dirty="0"/>
              <a:t>Base: De som har svart at </a:t>
            </a:r>
            <a:r>
              <a:rPr lang="nb-NO" dirty="0">
                <a:cs typeface="Times New Roman" panose="02020603050405020304" pitchFamily="18" charset="0"/>
              </a:rPr>
              <a:t>l</a:t>
            </a:r>
            <a:r>
              <a:rPr lang="nb-NO" sz="800" i="1" dirty="0">
                <a:solidFill>
                  <a:schemeClr val="bg1">
                    <a:lumMod val="50000"/>
                  </a:schemeClr>
                </a:solidFill>
                <a:effectLst/>
                <a:ea typeface="Times New Roman" panose="02020603050405020304" pitchFamily="18" charset="0"/>
                <a:cs typeface="Times New Roman" panose="02020603050405020304" pitchFamily="18" charset="0"/>
              </a:rPr>
              <a:t>ydnivået fra driften av beredskapssenteret påvirker </a:t>
            </a:r>
            <a:r>
              <a:rPr lang="nb-NO" dirty="0">
                <a:ea typeface="Times New Roman" panose="02020603050405020304" pitchFamily="18" charset="0"/>
                <a:cs typeface="Times New Roman" panose="02020603050405020304" pitchFamily="18" charset="0"/>
              </a:rPr>
              <a:t>dem</a:t>
            </a:r>
            <a:r>
              <a:rPr lang="nb-NO" sz="800" i="1" dirty="0">
                <a:solidFill>
                  <a:schemeClr val="bg1">
                    <a:lumMod val="50000"/>
                  </a:schemeClr>
                </a:solidFill>
                <a:effectLst/>
                <a:ea typeface="Times New Roman" panose="02020603050405020304" pitchFamily="18" charset="0"/>
                <a:cs typeface="Times New Roman" panose="02020603050405020304" pitchFamily="18" charset="0"/>
              </a:rPr>
              <a:t> i</a:t>
            </a:r>
            <a:r>
              <a:rPr lang="nb-NO" sz="800" i="1" dirty="0">
                <a:solidFill>
                  <a:schemeClr val="bg1">
                    <a:lumMod val="50000"/>
                  </a:schemeClr>
                </a:solidFill>
                <a:cs typeface="Times New Roman" panose="02020603050405020304" pitchFamily="18" charset="0"/>
              </a:rPr>
              <a:t> «noen» eller «høy grad», n=158</a:t>
            </a:r>
          </a:p>
        </p:txBody>
      </p:sp>
      <p:sp>
        <p:nvSpPr>
          <p:cNvPr id="5" name="Slide Number Placeholder 4">
            <a:extLst>
              <a:ext uri="{FF2B5EF4-FFF2-40B4-BE49-F238E27FC236}">
                <a16:creationId xmlns:a16="http://schemas.microsoft.com/office/drawing/2014/main" id="{E32FA3B1-D403-4F5C-BDEE-4A05C4835CCB}"/>
              </a:ext>
            </a:extLst>
          </p:cNvPr>
          <p:cNvSpPr>
            <a:spLocks noGrp="1"/>
          </p:cNvSpPr>
          <p:nvPr>
            <p:ph type="sldNum" sz="quarter" idx="18"/>
          </p:nvPr>
        </p:nvSpPr>
        <p:spPr/>
        <p:txBody>
          <a:bodyPr/>
          <a:lstStyle/>
          <a:p>
            <a:fld id="{D61AABEC-672F-4B68-B914-690DA978312C}" type="slidenum">
              <a:rPr lang="nb-NO" noProof="0" smtClean="0"/>
              <a:pPr/>
              <a:t>9</a:t>
            </a:fld>
            <a:r>
              <a:rPr lang="nb-NO" noProof="0" dirty="0"/>
              <a:t> ‒ </a:t>
            </a:r>
          </a:p>
        </p:txBody>
      </p:sp>
      <p:sp>
        <p:nvSpPr>
          <p:cNvPr id="7" name="Title 6">
            <a:extLst>
              <a:ext uri="{FF2B5EF4-FFF2-40B4-BE49-F238E27FC236}">
                <a16:creationId xmlns:a16="http://schemas.microsoft.com/office/drawing/2014/main" id="{AFAB9416-0A9F-47EF-B35A-71A6C2DFFEB4}"/>
              </a:ext>
            </a:extLst>
          </p:cNvPr>
          <p:cNvSpPr>
            <a:spLocks noGrp="1"/>
          </p:cNvSpPr>
          <p:nvPr>
            <p:ph type="title"/>
          </p:nvPr>
        </p:nvSpPr>
        <p:spPr>
          <a:xfrm>
            <a:off x="404786" y="382816"/>
            <a:ext cx="11382428" cy="313932"/>
          </a:xfrm>
        </p:spPr>
        <p:txBody>
          <a:bodyPr/>
          <a:lstStyle/>
          <a:p>
            <a:r>
              <a:rPr lang="nb-NO" sz="1600" dirty="0">
                <a:solidFill>
                  <a:schemeClr val="bg1">
                    <a:lumMod val="75000"/>
                  </a:schemeClr>
                </a:solidFill>
              </a:rPr>
              <a:t>LYDNIVÅ OG STØY</a:t>
            </a:r>
          </a:p>
        </p:txBody>
      </p:sp>
      <p:graphicFrame>
        <p:nvGraphicFramePr>
          <p:cNvPr id="11" name="Chart 4">
            <a:extLst>
              <a:ext uri="{FF2B5EF4-FFF2-40B4-BE49-F238E27FC236}">
                <a16:creationId xmlns:a16="http://schemas.microsoft.com/office/drawing/2014/main" id="{6BB4AAD3-BDE2-412E-8B20-AF939BE666C3}"/>
              </a:ext>
            </a:extLst>
          </p:cNvPr>
          <p:cNvGraphicFramePr/>
          <p:nvPr>
            <p:extLst>
              <p:ext uri="{D42A27DB-BD31-4B8C-83A1-F6EECF244321}">
                <p14:modId xmlns:p14="http://schemas.microsoft.com/office/powerpoint/2010/main" val="3787542411"/>
              </p:ext>
            </p:extLst>
          </p:nvPr>
        </p:nvGraphicFramePr>
        <p:xfrm>
          <a:off x="-528736" y="2132856"/>
          <a:ext cx="11593288" cy="2895845"/>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5">
            <a:extLst>
              <a:ext uri="{FF2B5EF4-FFF2-40B4-BE49-F238E27FC236}">
                <a16:creationId xmlns:a16="http://schemas.microsoft.com/office/drawing/2014/main" id="{A04F0E7C-3A18-483C-B7E4-6713BE81914B}"/>
              </a:ext>
            </a:extLst>
          </p:cNvPr>
          <p:cNvSpPr/>
          <p:nvPr/>
        </p:nvSpPr>
        <p:spPr>
          <a:xfrm>
            <a:off x="546220" y="4941168"/>
            <a:ext cx="11238412" cy="1152128"/>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nb-NO" sz="1200" dirty="0">
              <a:solidFill>
                <a:schemeClr val="tx1"/>
              </a:solidFill>
            </a:endParaRPr>
          </a:p>
          <a:p>
            <a:pPr algn="just"/>
            <a:endParaRPr lang="nb-NO" sz="1200" dirty="0">
              <a:solidFill>
                <a:schemeClr val="tx1"/>
              </a:solidFill>
            </a:endParaRPr>
          </a:p>
          <a:p>
            <a:pPr algn="just"/>
            <a:r>
              <a:rPr lang="nb-NO" sz="1200" dirty="0">
                <a:solidFill>
                  <a:schemeClr val="tx1"/>
                </a:solidFill>
              </a:rPr>
              <a:t>Blant personer som har svart at lydnivået fra driften av beredskapssenteret påvirker dem i «noen» eller «høy grad» svarer 42 % at det påvirker alminnelig ro i hjem og hage, mens 26 % svarer at det påvirker søvn. </a:t>
            </a:r>
          </a:p>
          <a:p>
            <a:pPr algn="just"/>
            <a:endParaRPr lang="nb-NO" sz="1200" dirty="0">
              <a:solidFill>
                <a:schemeClr val="tx1"/>
              </a:solidFill>
            </a:endParaRPr>
          </a:p>
          <a:p>
            <a:pPr algn="just"/>
            <a:r>
              <a:rPr lang="nb-NO" sz="1200" dirty="0">
                <a:solidFill>
                  <a:schemeClr val="tx1"/>
                </a:solidFill>
              </a:rPr>
              <a:t>En høyere andel av de som er bosatt i Oppegård svarer at de blir påvirket i tilknytning til arbeid/skolearbeid/barnehage (19 %) og fritidsaktiviteter (22 %) enn blant gjennomsnittet av de spurte. Det er en høyere andel av de som er bosatt i Sofiemyr som svarer at de blir påvirket under friluftsopplevelser (32 %) sammenlignet med gjennomsnittet av de spurte. </a:t>
            </a:r>
          </a:p>
          <a:p>
            <a:endParaRPr lang="nb-NO" sz="1400" dirty="0">
              <a:solidFill>
                <a:schemeClr val="tx1"/>
              </a:solidFill>
            </a:endParaRPr>
          </a:p>
          <a:p>
            <a:endParaRPr lang="nb-NO" sz="1400" dirty="0">
              <a:solidFill>
                <a:schemeClr val="tx1"/>
              </a:solidFill>
            </a:endParaRPr>
          </a:p>
        </p:txBody>
      </p:sp>
      <p:sp>
        <p:nvSpPr>
          <p:cNvPr id="12" name="TekstSylinder 11">
            <a:extLst>
              <a:ext uri="{FF2B5EF4-FFF2-40B4-BE49-F238E27FC236}">
                <a16:creationId xmlns:a16="http://schemas.microsoft.com/office/drawing/2014/main" id="{99D309E8-9B10-46A9-AA35-8136CF5298D1}"/>
              </a:ext>
            </a:extLst>
          </p:cNvPr>
          <p:cNvSpPr txBox="1"/>
          <p:nvPr/>
        </p:nvSpPr>
        <p:spPr>
          <a:xfrm>
            <a:off x="407368" y="674693"/>
            <a:ext cx="11881320" cy="954107"/>
          </a:xfrm>
          <a:prstGeom prst="rect">
            <a:avLst/>
          </a:prstGeom>
          <a:noFill/>
        </p:spPr>
        <p:txBody>
          <a:bodyPr wrap="square" rtlCol="0">
            <a:spAutoFit/>
          </a:bodyPr>
          <a:lstStyle/>
          <a:p>
            <a:r>
              <a:rPr lang="en-GB" sz="2800" dirty="0">
                <a:latin typeface="+mj-lt"/>
              </a:rPr>
              <a:t>Flest opplever at lydnivået fra driften av senteret påvirker ro i hjem og hage og søvn</a:t>
            </a:r>
          </a:p>
        </p:txBody>
      </p:sp>
    </p:spTree>
    <p:extLst>
      <p:ext uri="{BB962C8B-B14F-4D97-AF65-F5344CB8AC3E}">
        <p14:creationId xmlns:p14="http://schemas.microsoft.com/office/powerpoint/2010/main" val="15501112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bknxVe_4j.Q6eZDUxE.4g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Xu0GSn1LdlQ6T0jRJKpow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r71HMP7fNoYDxlK3KovN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SOS - Classical Template - 16x9">
  <a:themeElements>
    <a:clrScheme name="Personnalisé 183">
      <a:dk1>
        <a:sysClr val="windowText" lastClr="000000"/>
      </a:dk1>
      <a:lt1>
        <a:sysClr val="window" lastClr="FFFFFF"/>
      </a:lt1>
      <a:dk2>
        <a:srgbClr val="009D9C"/>
      </a:dk2>
      <a:lt2>
        <a:srgbClr val="2F469C"/>
      </a:lt2>
      <a:accent1>
        <a:srgbClr val="002554"/>
      </a:accent1>
      <a:accent2>
        <a:srgbClr val="F1BE48"/>
      </a:accent2>
      <a:accent3>
        <a:srgbClr val="E87722"/>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Ipsos PPT template 291019.potx" id="{C018917E-154D-4944-968E-C86665BA0328}" vid="{C42E3DE9-57BD-4213-8AC6-C3CD8CA8DD4C}"/>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psosCURRENT">
    <a:dk1>
      <a:srgbClr val="222223"/>
    </a:dk1>
    <a:lt1>
      <a:sysClr val="window" lastClr="FFFFFF"/>
    </a:lt1>
    <a:dk2>
      <a:srgbClr val="1B365D"/>
    </a:dk2>
    <a:lt2>
      <a:srgbClr val="888B8D"/>
    </a:lt2>
    <a:accent1>
      <a:srgbClr val="E87722"/>
    </a:accent1>
    <a:accent2>
      <a:srgbClr val="F1BE48"/>
    </a:accent2>
    <a:accent3>
      <a:srgbClr val="B7BF12"/>
    </a:accent3>
    <a:accent4>
      <a:srgbClr val="C8C9C7"/>
    </a:accent4>
    <a:accent5>
      <a:srgbClr val="71B2C9"/>
    </a:accent5>
    <a:accent6>
      <a:srgbClr val="007681"/>
    </a:accent6>
    <a:hlink>
      <a:srgbClr val="485CC7"/>
    </a:hlink>
    <a:folHlink>
      <a:srgbClr val="00B2A9"/>
    </a:folHlink>
  </a:clrScheme>
  <a:fontScheme name="Ipsos MORI">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6A36DB7770B649B5A203021DA65B52" ma:contentTypeVersion="3" ma:contentTypeDescription="Create a new document." ma:contentTypeScope="" ma:versionID="d7d19b53b4082dd815394d7838486ba1">
  <xsd:schema xmlns:xsd="http://www.w3.org/2001/XMLSchema" xmlns:xs="http://www.w3.org/2001/XMLSchema" xmlns:p="http://schemas.microsoft.com/office/2006/metadata/properties" targetNamespace="http://schemas.microsoft.com/office/2006/metadata/properties" ma:root="true" ma:fieldsID="972445cd6a465eed4766ccf169b7a72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3E28C59-5C26-4D66-93F9-A6F797E9AE1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CC58A6C7-708D-44E5-A0FE-D25AA2CAD579}">
  <ds:schemaRefs>
    <ds:schemaRef ds:uri="http://purl.org/dc/terms/"/>
    <ds:schemaRef ds:uri="http://schemas.openxmlformats.org/package/2006/metadata/core-properties"/>
    <ds:schemaRef ds:uri="http://schemas.microsoft.com/office/2006/documentManagement/types"/>
    <ds:schemaRef ds:uri="http://www.w3.org/XML/1998/namespace"/>
    <ds:schemaRef ds:uri="http://purl.org/dc/elements/1.1/"/>
    <ds:schemaRef ds:uri="http://schemas.microsoft.com/office/2006/metadata/properties"/>
    <ds:schemaRef ds:uri="http://schemas.microsoft.com/office/infopath/2007/PartnerControls"/>
    <ds:schemaRef ds:uri="http://purl.org/dc/dcmitype/"/>
  </ds:schemaRefs>
</ds:datastoreItem>
</file>

<file path=customXml/itemProps3.xml><?xml version="1.0" encoding="utf-8"?>
<ds:datastoreItem xmlns:ds="http://schemas.openxmlformats.org/officeDocument/2006/customXml" ds:itemID="{96C517DD-8D06-447B-9926-7740C88F35A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UTKAST 2022</Template>
  <TotalTime>4423</TotalTime>
  <Words>3464</Words>
  <Application>Microsoft Office PowerPoint</Application>
  <PresentationFormat>Widescreen</PresentationFormat>
  <Paragraphs>268</Paragraphs>
  <Slides>34</Slides>
  <Notes>0</Notes>
  <HiddenSlides>0</HiddenSlides>
  <MMClips>0</MMClips>
  <ScaleCrop>false</ScaleCrop>
  <HeadingPairs>
    <vt:vector size="8" baseType="variant">
      <vt:variant>
        <vt:lpstr>Brukte skrifter</vt:lpstr>
      </vt:variant>
      <vt:variant>
        <vt:i4>5</vt:i4>
      </vt:variant>
      <vt:variant>
        <vt:lpstr>Tema</vt:lpstr>
      </vt:variant>
      <vt:variant>
        <vt:i4>1</vt:i4>
      </vt:variant>
      <vt:variant>
        <vt:lpstr>Innebygde OLE-servere</vt:lpstr>
      </vt:variant>
      <vt:variant>
        <vt:i4>1</vt:i4>
      </vt:variant>
      <vt:variant>
        <vt:lpstr>Lysbildetitler</vt:lpstr>
      </vt:variant>
      <vt:variant>
        <vt:i4>34</vt:i4>
      </vt:variant>
    </vt:vector>
  </HeadingPairs>
  <TitlesOfParts>
    <vt:vector size="41" baseType="lpstr">
      <vt:lpstr>Arial Black</vt:lpstr>
      <vt:lpstr>HelveticaNeueLT Std Lt Cn</vt:lpstr>
      <vt:lpstr>Tahoma</vt:lpstr>
      <vt:lpstr>Arial</vt:lpstr>
      <vt:lpstr>Calibri</vt:lpstr>
      <vt:lpstr>IPSOS - Classical Template - 16x9</vt:lpstr>
      <vt:lpstr>Diapositive think-cell</vt:lpstr>
      <vt:lpstr>NABOundersøkelsen</vt:lpstr>
      <vt:lpstr>innhold</vt:lpstr>
      <vt:lpstr>Om undersøkelsen</vt:lpstr>
      <vt:lpstr>Sammendrag (1)</vt:lpstr>
      <vt:lpstr>Sammendrag (2)</vt:lpstr>
      <vt:lpstr>LYDNIVÅ OG STØY</vt:lpstr>
      <vt:lpstr>LYDNIVÅ OG STØY</vt:lpstr>
      <vt:lpstr>PowerPoint-presentasjon</vt:lpstr>
      <vt:lpstr>LYDNIVÅ OG STØY</vt:lpstr>
      <vt:lpstr>LYDNIVÅ OG STØY</vt:lpstr>
      <vt:lpstr>LYDNIVÅ OG STØY</vt:lpstr>
      <vt:lpstr>LYDNIVÅ OG STØY</vt:lpstr>
      <vt:lpstr>LYDNIVÅ OG STØY</vt:lpstr>
      <vt:lpstr>INFORMASJON</vt:lpstr>
      <vt:lpstr>PowerPoint-presentasjon</vt:lpstr>
      <vt:lpstr>PowerPoint-presentasjon</vt:lpstr>
      <vt:lpstr>INFORMASJON</vt:lpstr>
      <vt:lpstr>INFORMASJON</vt:lpstr>
      <vt:lpstr>INFORMASJON</vt:lpstr>
      <vt:lpstr>PÅVIRKNING</vt:lpstr>
      <vt:lpstr>PÅVIRKNING</vt:lpstr>
      <vt:lpstr>PÅVIRKNING</vt:lpstr>
      <vt:lpstr>PÅVIRKNING</vt:lpstr>
      <vt:lpstr>PÅVIRKNING</vt:lpstr>
      <vt:lpstr>PÅVIRKNING</vt:lpstr>
      <vt:lpstr>PÅVIRKNING</vt:lpstr>
      <vt:lpstr>Om utvalget (uvektet)</vt:lpstr>
      <vt:lpstr>Om utvalget</vt:lpstr>
      <vt:lpstr>Om utvalget</vt:lpstr>
      <vt:lpstr>Om utvalget</vt:lpstr>
      <vt:lpstr>Om utvalget</vt:lpstr>
      <vt:lpstr>Om utvalget</vt:lpstr>
      <vt:lpstr>Om utvalget</vt:lpstr>
      <vt:lpstr>Kontak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BOundersøkelsen</dc:title>
  <dc:creator>Britt Kristine Ludvigsen</dc:creator>
  <cp:lastModifiedBy>Linn Sørensen Holst</cp:lastModifiedBy>
  <cp:revision>153</cp:revision>
  <dcterms:created xsi:type="dcterms:W3CDTF">2022-03-23T08:12:11Z</dcterms:created>
  <dcterms:modified xsi:type="dcterms:W3CDTF">2022-06-17T09:48: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6A36DB7770B649B5A203021DA65B52</vt:lpwstr>
  </property>
</Properties>
</file>